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9"/>
  </p:notesMasterIdLst>
  <p:handoutMasterIdLst>
    <p:handoutMasterId r:id="rId20"/>
  </p:handoutMasterIdLst>
  <p:sldIdLst>
    <p:sldId id="2147482354" r:id="rId5"/>
    <p:sldId id="2147482374" r:id="rId6"/>
    <p:sldId id="2147482368" r:id="rId7"/>
    <p:sldId id="2147482376" r:id="rId8"/>
    <p:sldId id="2147482371" r:id="rId9"/>
    <p:sldId id="2147482378" r:id="rId10"/>
    <p:sldId id="2147482379" r:id="rId11"/>
    <p:sldId id="5895" r:id="rId12"/>
    <p:sldId id="2147470498" r:id="rId13"/>
    <p:sldId id="2147482346" r:id="rId14"/>
    <p:sldId id="2147482345" r:id="rId15"/>
    <p:sldId id="2147482369" r:id="rId16"/>
    <p:sldId id="263" r:id="rId17"/>
    <p:sldId id="267" r:id="rId18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1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33D700-5A4F-6C1B-B8D2-29AD839FDEA5}" name="Nicholas Siegele" initials="NS" userId="S::nicholas.siegele@mavresources.com::31a5f316-260c-4c72-a4f8-22e5a4583dfd" providerId="AD"/>
  <p188:author id="{949EB109-510E-E765-F74B-650998A3A345}" name="Kaleb Foster" initials="KF" userId="S::kaleb.foster@mavresources.com::b31fe74f-711c-4aa6-b70d-32eac9d98781" providerId="AD"/>
  <p188:author id="{B57A020E-B79E-1924-197A-6C26B434792C}" name="Brandon Acuff" initials="BA" userId="S::brandon.acuff@mavresources.com::e39be7e0-a036-4349-8291-a169f0beb03a" providerId="AD"/>
  <p188:author id="{09575310-5801-E300-D299-D9AAA4067802}" name="Arden Larberg" initials="AL" userId="S::arden.larberg@mavresources.com::e46755c6-558e-4072-b4da-3982f3973107" providerId="AD"/>
  <p188:author id="{F318A815-6BF9-3F33-6D5F-FB0C1FB41AAF}" name="Robert Wyrick" initials="RW" userId="S::robert.wyrick@mavresources.com::02e291b3-5680-4da3-92d2-ccaa54f415e4" providerId="AD"/>
  <p188:author id="{E8C84123-D9EF-9B47-2EFA-12725AF2B5A9}" name="Byron Olson" initials="" userId="S::byron.olson@mavresources.com::356757e9-6315-4410-90df-90b93fb3a33c" providerId="AD"/>
  <p188:author id="{C6821124-02E9-5E6A-D368-0AE5ADF500AE}" name="Raven Elliott" initials="RE" userId="S::Raven.Elliott@mavresources.com::48cf2b6e-e07a-4ac2-99ba-4bb977842705" providerId="AD"/>
  <p188:author id="{D0F3762A-4DD1-5514-1BD1-DBF8EE1730DF}" name="Michael Atkin" initials="" userId="S::Michael.Atkin@mavresources.com::06cc8bcf-a9f0-4337-adc8-ed70d6af8808" providerId="AD"/>
  <p188:author id="{49C09747-577E-1E8F-E5DD-96D366187D65}" name="Jason Thomas" initials="JT" userId="S::jason.thomas@mavresources.com::e9a24cd1-d3dc-4870-ae19-2ed03c3c9777" providerId="AD"/>
  <p188:author id="{5510A547-4FAE-1B7A-4373-115671ADA61C}" name="Lucas Green" initials="LG" userId="S::lucas.green@mavresources.com::3a7e2d9c-f1aa-4ccb-8ae8-e630ced9aa17" providerId="AD"/>
  <p188:author id="{E823D24A-7B87-4B01-9AE2-90CD7FE5DB74}" name="Jill Cervantes" initials="JC" userId="S::Jill.Cervantes@mavresources.com::42e91073-b338-4f86-8b21-4d9531180f20" providerId="AD"/>
  <p188:author id="{E301864D-6B20-6544-8E35-50485A00F979}" name="Alex Carballo" initials="AC" userId="S::alexander.carballo@mavresources.com::b6ad3aae-1341-49ce-9803-f3772c09fe0c" providerId="AD"/>
  <p188:author id="{73F90E56-8839-42A0-E849-3543DD7336AF}" name="Nick Keller" initials="NK" userId="S::nicholas.keller@mavresources.com::dbc460e6-c5f6-49d1-b76e-cd702da75fad" providerId="AD"/>
  <p188:author id="{3EA4BD5E-283B-5A25-8404-7E55E6299C48}" name="Jacob Bailey" initials="JB" userId="S::jacob.bailey@mavresources.com::df1173c0-a0bb-4f2e-805e-9de2f2a59380" providerId="AD"/>
  <p188:author id="{9645355F-0E88-2CF8-0057-77A1BB90178C}" name="Satish Masina" initials="SM" userId="S::satish.masina@mavresources.com::2f377c24-60b0-4e9f-b808-6cc869094b13" providerId="AD"/>
  <p188:author id="{7D78505F-BADB-DBFD-0332-534D6CAF1935}" name="Christopher Vasso" initials="CV" userId="S::chris.vasso@mavresources.com::5bd7c438-903c-4f3f-9377-f0f2b182112a" providerId="AD"/>
  <p188:author id="{53E43D60-8672-7E47-89B1-7F8723A2CC36}" name="Kevin Goebel" initials="KG" userId="S::Kevin.Goebel@mavresources.com::781e7dc3-1108-4fda-b551-9363bd7cdfda" providerId="AD"/>
  <p188:author id="{9E547564-90F2-395F-F2CC-473C911D8711}" name="Steven Barrow" initials="SB" userId="S::steven.barrow@mavresources.com::6b592bd8-af98-4a93-a59e-52a21bd6615c" providerId="AD"/>
  <p188:author id="{C4405D71-6F32-7FAE-4E5A-D61DD6D21195}" name="Colin Beasley" initials="CB" userId="S::Colin.Beasley@mavresources.com::b4223b8e-9085-42e7-83da-45fe0caa0900" providerId="AD"/>
  <p188:author id="{DC4E1075-3460-EAB2-5560-95A56A29C484}" name="Sparsh Varma" initials="SV" userId="S::sparsh.varma@mavresources.com::7e38f1e8-362b-4b11-ab5c-516eea9c3fc4" providerId="AD"/>
  <p188:author id="{76E10C78-A75F-7E88-F038-DFCE2821C936}" name="Christopher Vasso" initials="" userId="S::Chris.Vasso@mavresources.com::5bd7c438-903c-4f3f-9377-f0f2b182112a" providerId="AD"/>
  <p188:author id="{DA00E07D-F174-0B34-1E99-8BCBD7C5EF7A}" name="Jacob Bailey" initials="JB" userId="S::Jacob.Bailey@mavresources.com::df1173c0-a0bb-4f2e-805e-9de2f2a59380" providerId="AD"/>
  <p188:author id="{B555F782-FA0E-43E0-7D37-502D5B7E0932}" name="Patrick Kester" initials="PK" userId="S::Patrick.Kester@mavresources.com::13ea1b60-2bae-4f5b-831d-6b02946419f2" providerId="AD"/>
  <p188:author id="{1261AB84-6F08-63ED-8D26-EA59E832FE76}" name="Megan Robb" initials="MR" userId="S::megan.robb@mavresources.com::6ce11ec2-49b4-459b-8ade-46f9eea9bbc3" providerId="AD"/>
  <p188:author id="{43316E8E-BCAA-BDEF-9B3B-D40A07253615}" name="Raven Elliott" initials="RE" userId="S::raven.elliott@mavresources.com::48cf2b6e-e07a-4ac2-99ba-4bb977842705" providerId="AD"/>
  <p188:author id="{E5A64493-BB8E-5410-B2CD-4BE3B55B3507}" name="Buddy Bains" initials="BB" userId="S::buddy.bains@mavresources.com::22761fa4-9dfa-4e3f-a82c-95985cb8e81a" providerId="AD"/>
  <p188:author id="{CF3E6693-015E-07CC-52B8-F0E479A07FCF}" name="Carmen Saucedo" initials="CS" userId="S::carmen.saucedo@mavresources.com::940be975-519e-4dc8-88d7-96c9ec5789c1" providerId="AD"/>
  <p188:author id="{296DD99B-7A99-056C-054B-D946206A0FC9}" name="Katrina Autry" initials="KA" userId="S::Katrina.Shows@mavresources.com::14b5f6ef-8049-4453-b081-f1fe2b240c80" providerId="AD"/>
  <p188:author id="{09BB319E-A88E-F4AF-EC65-EE0AB0C7DD03}" name="Patrick Kester" initials="PK" userId="S::patrick.kester@mavresources.com::13ea1b60-2bae-4f5b-831d-6b02946419f2" providerId="AD"/>
  <p188:author id="{4B1F7FA3-B30F-31FF-D259-3675E6212B86}" name="Cynthia Hurrington" initials="CH" userId="S::Cynthia.Hurrington@mavresources.com::0a922bf6-1ba5-4d29-a2b7-a2e873a051aa" providerId="AD"/>
  <p188:author id="{34C827A5-BA6A-F049-AB56-1E065EB4FF88}" name="Trevor Slade" initials="TS" userId="S::trevor.slade@mavresources.com::cc64fbf3-a312-4526-b1bf-277309e8106f" providerId="AD"/>
  <p188:author id="{F61A81B7-E17A-4E88-1E7B-E5549A385AEF}" name="Hector Zambrano" initials="HZ" userId="S::hector.zambrano@mavresources.com::22ab1018-0f48-45b3-af6e-7a5a150a2566" providerId="AD"/>
  <p188:author id="{18782CBD-FEB5-8FD4-F288-2A0D48512ED2}" name="Katrina Autry" initials="KA" userId="S::katrina.shows@mavresources.com::14b5f6ef-8049-4453-b081-f1fe2b240c80" providerId="AD"/>
  <p188:author id="{185B82BD-83B2-BBDA-DCF2-2A6D8806BFDB}" name="Kellie Hatleback" initials="" userId="S::kellie.skidmore@mavresources.com::684853e9-3eb7-4fe1-91f4-0929665e015f" providerId="AD"/>
  <p188:author id="{DC15C7D2-5F18-211C-5A1B-A00E14233159}" name="Philip Venesky" initials="PV" userId="S::Philip.Venesky@mavresources.com::fd1d820c-ae77-48ef-a2f6-be5ae4e97e79" providerId="AD"/>
  <p188:author id="{6EB39AD8-E2EA-932B-A48B-F0751D46D230}" name="Gabriel Novotny" initials="GN" userId="S::gabriel.novotny@mavresources.com::ab452a7d-805e-4be1-99fc-a983b7f7eb96" providerId="AD"/>
  <p188:author id="{C82F5BEC-722C-F7FD-9AF8-751C9840BEDA}" name="Megan Robb" initials="" userId="S::Megan.Robb@mavresources.com::6ce11ec2-49b4-459b-8ade-46f9eea9bbc3" providerId="AD"/>
  <p188:author id="{0070D7F6-5C73-D420-7554-378B90904625}" name="Rick Gideon" initials="RG" userId="S::rick.gideon@mavresources.com::4120b0aa-a115-4e24-8b21-dc88bc2db05d" providerId="AD"/>
  <p188:author id="{BF793DF9-2413-2E59-99D1-67E80E7ED835}" name="Brian Yu" initials="BY" userId="S::brian.yu@mavresources.com::21d03402-5be7-4ebb-8f7f-90262acad76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nnonhouse, Derrick" initials="SD" lastIdx="1" clrIdx="0">
    <p:extLst>
      <p:ext uri="{19B8F6BF-5375-455C-9EA6-DF929625EA0E}">
        <p15:presenceInfo xmlns:p15="http://schemas.microsoft.com/office/powerpoint/2012/main" userId="S-1-5-21-3809216620-2439356427-111278192-433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F99"/>
    <a:srgbClr val="57B6B2"/>
    <a:srgbClr val="C71F41"/>
    <a:srgbClr val="6ABF4B"/>
    <a:srgbClr val="011E41"/>
    <a:srgbClr val="00B0F0"/>
    <a:srgbClr val="3D5B8A"/>
    <a:srgbClr val="E1F2DB"/>
    <a:srgbClr val="C3E5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F97926-7988-49E1-8BA1-E1711C14AE74}" v="155" dt="2024-09-03T17:23:18.8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2016"/>
        <p:guide pos="3840"/>
        <p:guide orient="horz" pos="6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evor Slade" userId="cc64fbf3-a312-4526-b1bf-277309e8106f" providerId="ADAL" clId="{F4F97926-7988-49E1-8BA1-E1711C14AE74}"/>
    <pc:docChg chg="undo custSel addSld delSld modSld sldOrd">
      <pc:chgData name="Trevor Slade" userId="cc64fbf3-a312-4526-b1bf-277309e8106f" providerId="ADAL" clId="{F4F97926-7988-49E1-8BA1-E1711C14AE74}" dt="2024-09-03T17:23:18.867" v="1124"/>
      <pc:docMkLst>
        <pc:docMk/>
      </pc:docMkLst>
      <pc:sldChg chg="add modTransition">
        <pc:chgData name="Trevor Slade" userId="cc64fbf3-a312-4526-b1bf-277309e8106f" providerId="ADAL" clId="{F4F97926-7988-49E1-8BA1-E1711C14AE74}" dt="2024-09-03T17:23:18.867" v="1124"/>
        <pc:sldMkLst>
          <pc:docMk/>
          <pc:sldMk cId="1741932984" sldId="263"/>
        </pc:sldMkLst>
      </pc:sldChg>
      <pc:sldChg chg="add modTransition">
        <pc:chgData name="Trevor Slade" userId="cc64fbf3-a312-4526-b1bf-277309e8106f" providerId="ADAL" clId="{F4F97926-7988-49E1-8BA1-E1711C14AE74}" dt="2024-09-03T17:23:11.083" v="1123"/>
        <pc:sldMkLst>
          <pc:docMk/>
          <pc:sldMk cId="4159488616" sldId="267"/>
        </pc:sldMkLst>
      </pc:sldChg>
      <pc:sldChg chg="add">
        <pc:chgData name="Trevor Slade" userId="cc64fbf3-a312-4526-b1bf-277309e8106f" providerId="ADAL" clId="{F4F97926-7988-49E1-8BA1-E1711C14AE74}" dt="2024-09-03T17:15:41.316" v="1119"/>
        <pc:sldMkLst>
          <pc:docMk/>
          <pc:sldMk cId="1132729711" sldId="5895"/>
        </pc:sldMkLst>
      </pc:sldChg>
      <pc:sldChg chg="del">
        <pc:chgData name="Trevor Slade" userId="cc64fbf3-a312-4526-b1bf-277309e8106f" providerId="ADAL" clId="{F4F97926-7988-49E1-8BA1-E1711C14AE74}" dt="2024-09-03T17:15:39.383" v="1118" actId="2696"/>
        <pc:sldMkLst>
          <pc:docMk/>
          <pc:sldMk cId="2002322333" sldId="5895"/>
        </pc:sldMkLst>
      </pc:sldChg>
      <pc:sldChg chg="add">
        <pc:chgData name="Trevor Slade" userId="cc64fbf3-a312-4526-b1bf-277309e8106f" providerId="ADAL" clId="{F4F97926-7988-49E1-8BA1-E1711C14AE74}" dt="2024-09-03T17:15:41.316" v="1119"/>
        <pc:sldMkLst>
          <pc:docMk/>
          <pc:sldMk cId="2358158486" sldId="2147470498"/>
        </pc:sldMkLst>
      </pc:sldChg>
      <pc:sldChg chg="del">
        <pc:chgData name="Trevor Slade" userId="cc64fbf3-a312-4526-b1bf-277309e8106f" providerId="ADAL" clId="{F4F97926-7988-49E1-8BA1-E1711C14AE74}" dt="2024-09-03T17:15:39.383" v="1118" actId="2696"/>
        <pc:sldMkLst>
          <pc:docMk/>
          <pc:sldMk cId="3906072123" sldId="2147470498"/>
        </pc:sldMkLst>
      </pc:sldChg>
      <pc:sldChg chg="add">
        <pc:chgData name="Trevor Slade" userId="cc64fbf3-a312-4526-b1bf-277309e8106f" providerId="ADAL" clId="{F4F97926-7988-49E1-8BA1-E1711C14AE74}" dt="2024-09-03T17:15:41.316" v="1119"/>
        <pc:sldMkLst>
          <pc:docMk/>
          <pc:sldMk cId="911644774" sldId="2147482345"/>
        </pc:sldMkLst>
      </pc:sldChg>
      <pc:sldChg chg="del">
        <pc:chgData name="Trevor Slade" userId="cc64fbf3-a312-4526-b1bf-277309e8106f" providerId="ADAL" clId="{F4F97926-7988-49E1-8BA1-E1711C14AE74}" dt="2024-09-03T17:15:39.383" v="1118" actId="2696"/>
        <pc:sldMkLst>
          <pc:docMk/>
          <pc:sldMk cId="2679218893" sldId="2147482345"/>
        </pc:sldMkLst>
      </pc:sldChg>
      <pc:sldChg chg="add">
        <pc:chgData name="Trevor Slade" userId="cc64fbf3-a312-4526-b1bf-277309e8106f" providerId="ADAL" clId="{F4F97926-7988-49E1-8BA1-E1711C14AE74}" dt="2024-09-03T17:15:41.316" v="1119"/>
        <pc:sldMkLst>
          <pc:docMk/>
          <pc:sldMk cId="1016759327" sldId="2147482346"/>
        </pc:sldMkLst>
      </pc:sldChg>
      <pc:sldChg chg="del">
        <pc:chgData name="Trevor Slade" userId="cc64fbf3-a312-4526-b1bf-277309e8106f" providerId="ADAL" clId="{F4F97926-7988-49E1-8BA1-E1711C14AE74}" dt="2024-09-03T17:15:39.383" v="1118" actId="2696"/>
        <pc:sldMkLst>
          <pc:docMk/>
          <pc:sldMk cId="2047467993" sldId="2147482346"/>
        </pc:sldMkLst>
      </pc:sldChg>
      <pc:sldChg chg="del">
        <pc:chgData name="Trevor Slade" userId="cc64fbf3-a312-4526-b1bf-277309e8106f" providerId="ADAL" clId="{F4F97926-7988-49E1-8BA1-E1711C14AE74}" dt="2024-09-03T13:56:18.003" v="300" actId="47"/>
        <pc:sldMkLst>
          <pc:docMk/>
          <pc:sldMk cId="4172299206" sldId="2147482347"/>
        </pc:sldMkLst>
      </pc:sldChg>
      <pc:sldChg chg="addSp delSp modSp mod">
        <pc:chgData name="Trevor Slade" userId="cc64fbf3-a312-4526-b1bf-277309e8106f" providerId="ADAL" clId="{F4F97926-7988-49E1-8BA1-E1711C14AE74}" dt="2024-09-03T16:41:57.938" v="1094"/>
        <pc:sldMkLst>
          <pc:docMk/>
          <pc:sldMk cId="2557913048" sldId="2147482368"/>
        </pc:sldMkLst>
        <pc:spChg chg="mod">
          <ac:chgData name="Trevor Slade" userId="cc64fbf3-a312-4526-b1bf-277309e8106f" providerId="ADAL" clId="{F4F97926-7988-49E1-8BA1-E1711C14AE74}" dt="2024-09-03T14:58:29.840" v="386" actId="1076"/>
          <ac:spMkLst>
            <pc:docMk/>
            <pc:sldMk cId="2557913048" sldId="2147482368"/>
            <ac:spMk id="6" creationId="{D0B7464D-BED2-FF30-3411-A0DA2BF11577}"/>
          </ac:spMkLst>
        </pc:spChg>
        <pc:spChg chg="add del mod">
          <ac:chgData name="Trevor Slade" userId="cc64fbf3-a312-4526-b1bf-277309e8106f" providerId="ADAL" clId="{F4F97926-7988-49E1-8BA1-E1711C14AE74}" dt="2024-09-03T15:00:39.131" v="421" actId="11529"/>
          <ac:spMkLst>
            <pc:docMk/>
            <pc:sldMk cId="2557913048" sldId="2147482368"/>
            <ac:spMk id="10" creationId="{8E3D845E-5B31-58DA-D0AF-BB8EE347F618}"/>
          </ac:spMkLst>
        </pc:spChg>
        <pc:spChg chg="add del mod">
          <ac:chgData name="Trevor Slade" userId="cc64fbf3-a312-4526-b1bf-277309e8106f" providerId="ADAL" clId="{F4F97926-7988-49E1-8BA1-E1711C14AE74}" dt="2024-09-03T15:02:10.015" v="451" actId="11529"/>
          <ac:spMkLst>
            <pc:docMk/>
            <pc:sldMk cId="2557913048" sldId="2147482368"/>
            <ac:spMk id="11" creationId="{54B45BCE-FC6A-5CAF-50D7-FD8AD409F419}"/>
          </ac:spMkLst>
        </pc:spChg>
        <pc:spChg chg="add mod">
          <ac:chgData name="Trevor Slade" userId="cc64fbf3-a312-4526-b1bf-277309e8106f" providerId="ADAL" clId="{F4F97926-7988-49E1-8BA1-E1711C14AE74}" dt="2024-09-03T15:03:14.737" v="496" actId="207"/>
          <ac:spMkLst>
            <pc:docMk/>
            <pc:sldMk cId="2557913048" sldId="2147482368"/>
            <ac:spMk id="14" creationId="{723587FB-FE86-5AD6-4459-99FAF4CA0C83}"/>
          </ac:spMkLst>
        </pc:spChg>
        <pc:spChg chg="mod">
          <ac:chgData name="Trevor Slade" userId="cc64fbf3-a312-4526-b1bf-277309e8106f" providerId="ADAL" clId="{F4F97926-7988-49E1-8BA1-E1711C14AE74}" dt="2024-09-03T15:01:35.903" v="445" actId="1076"/>
          <ac:spMkLst>
            <pc:docMk/>
            <pc:sldMk cId="2557913048" sldId="2147482368"/>
            <ac:spMk id="17" creationId="{6BA5AE73-A61E-D087-034D-A6135BDDB57C}"/>
          </ac:spMkLst>
        </pc:spChg>
        <pc:spChg chg="mod">
          <ac:chgData name="Trevor Slade" userId="cc64fbf3-a312-4526-b1bf-277309e8106f" providerId="ADAL" clId="{F4F97926-7988-49E1-8BA1-E1711C14AE74}" dt="2024-09-03T15:01:12.454" v="434" actId="1076"/>
          <ac:spMkLst>
            <pc:docMk/>
            <pc:sldMk cId="2557913048" sldId="2147482368"/>
            <ac:spMk id="19" creationId="{7199DB74-5815-3EB5-6599-C6E338B3047A}"/>
          </ac:spMkLst>
        </pc:spChg>
        <pc:spChg chg="mod">
          <ac:chgData name="Trevor Slade" userId="cc64fbf3-a312-4526-b1bf-277309e8106f" providerId="ADAL" clId="{F4F97926-7988-49E1-8BA1-E1711C14AE74}" dt="2024-09-03T15:01:41.749" v="447" actId="208"/>
          <ac:spMkLst>
            <pc:docMk/>
            <pc:sldMk cId="2557913048" sldId="2147482368"/>
            <ac:spMk id="20" creationId="{90B15AA8-AF4A-8F8F-0D44-A28411901F5C}"/>
          </ac:spMkLst>
        </pc:spChg>
        <pc:spChg chg="add mod">
          <ac:chgData name="Trevor Slade" userId="cc64fbf3-a312-4526-b1bf-277309e8106f" providerId="ADAL" clId="{F4F97926-7988-49E1-8BA1-E1711C14AE74}" dt="2024-09-03T16:41:35.021" v="1082" actId="1076"/>
          <ac:spMkLst>
            <pc:docMk/>
            <pc:sldMk cId="2557913048" sldId="2147482368"/>
            <ac:spMk id="21" creationId="{17974A98-6DC7-4AAA-CE57-3B01CEB61CB2}"/>
          </ac:spMkLst>
        </pc:spChg>
        <pc:spChg chg="add mod">
          <ac:chgData name="Trevor Slade" userId="cc64fbf3-a312-4526-b1bf-277309e8106f" providerId="ADAL" clId="{F4F97926-7988-49E1-8BA1-E1711C14AE74}" dt="2024-09-03T16:41:37.171" v="1086" actId="571"/>
          <ac:spMkLst>
            <pc:docMk/>
            <pc:sldMk cId="2557913048" sldId="2147482368"/>
            <ac:spMk id="23" creationId="{A609697B-69B0-391C-90A6-7794019DC19C}"/>
          </ac:spMkLst>
        </pc:spChg>
        <pc:graphicFrameChg chg="add mod">
          <ac:chgData name="Trevor Slade" userId="cc64fbf3-a312-4526-b1bf-277309e8106f" providerId="ADAL" clId="{F4F97926-7988-49E1-8BA1-E1711C14AE74}" dt="2024-09-03T15:02:45.748" v="490"/>
          <ac:graphicFrameMkLst>
            <pc:docMk/>
            <pc:sldMk cId="2557913048" sldId="2147482368"/>
            <ac:graphicFrameMk id="4" creationId="{A2573D44-AD8E-0735-B674-C5009B13D242}"/>
          </ac:graphicFrameMkLst>
        </pc:graphicFrameChg>
        <pc:graphicFrameChg chg="del">
          <ac:chgData name="Trevor Slade" userId="cc64fbf3-a312-4526-b1bf-277309e8106f" providerId="ADAL" clId="{F4F97926-7988-49E1-8BA1-E1711C14AE74}" dt="2024-09-03T14:57:39.182" v="378" actId="478"/>
          <ac:graphicFrameMkLst>
            <pc:docMk/>
            <pc:sldMk cId="2557913048" sldId="2147482368"/>
            <ac:graphicFrameMk id="5" creationId="{DC15B734-1FF7-4133-FAD6-6314B5CCC878}"/>
          </ac:graphicFrameMkLst>
        </pc:graphicFrameChg>
        <pc:graphicFrameChg chg="add mod">
          <ac:chgData name="Trevor Slade" userId="cc64fbf3-a312-4526-b1bf-277309e8106f" providerId="ADAL" clId="{F4F97926-7988-49E1-8BA1-E1711C14AE74}" dt="2024-09-03T15:03:36.149" v="500" actId="1076"/>
          <ac:graphicFrameMkLst>
            <pc:docMk/>
            <pc:sldMk cId="2557913048" sldId="2147482368"/>
            <ac:graphicFrameMk id="15" creationId="{CCBC255A-587A-0088-48D4-DB5133C336AF}"/>
          </ac:graphicFrameMkLst>
        </pc:graphicFrameChg>
        <pc:graphicFrameChg chg="add mod">
          <ac:chgData name="Trevor Slade" userId="cc64fbf3-a312-4526-b1bf-277309e8106f" providerId="ADAL" clId="{F4F97926-7988-49E1-8BA1-E1711C14AE74}" dt="2024-09-03T16:41:57.938" v="1094"/>
          <ac:graphicFrameMkLst>
            <pc:docMk/>
            <pc:sldMk cId="2557913048" sldId="2147482368"/>
            <ac:graphicFrameMk id="22" creationId="{3B7F77A0-9A4D-9E07-8A2E-32EF116B8090}"/>
          </ac:graphicFrameMkLst>
        </pc:graphicFrameChg>
        <pc:cxnChg chg="mod">
          <ac:chgData name="Trevor Slade" userId="cc64fbf3-a312-4526-b1bf-277309e8106f" providerId="ADAL" clId="{F4F97926-7988-49E1-8BA1-E1711C14AE74}" dt="2024-09-03T14:58:37.427" v="389" actId="14100"/>
          <ac:cxnSpMkLst>
            <pc:docMk/>
            <pc:sldMk cId="2557913048" sldId="2147482368"/>
            <ac:cxnSpMk id="8" creationId="{3A87D92D-6079-39B2-C0E5-8CE24E88701C}"/>
          </ac:cxnSpMkLst>
        </pc:cxnChg>
        <pc:cxnChg chg="add mod">
          <ac:chgData name="Trevor Slade" userId="cc64fbf3-a312-4526-b1bf-277309e8106f" providerId="ADAL" clId="{F4F97926-7988-49E1-8BA1-E1711C14AE74}" dt="2024-09-03T15:02:29.005" v="456" actId="1582"/>
          <ac:cxnSpMkLst>
            <pc:docMk/>
            <pc:sldMk cId="2557913048" sldId="2147482368"/>
            <ac:cxnSpMk id="12" creationId="{0B13BEB6-6758-58A0-100D-35F4FA41DDF3}"/>
          </ac:cxnSpMkLst>
        </pc:cxnChg>
        <pc:cxnChg chg="mod">
          <ac:chgData name="Trevor Slade" userId="cc64fbf3-a312-4526-b1bf-277309e8106f" providerId="ADAL" clId="{F4F97926-7988-49E1-8BA1-E1711C14AE74}" dt="2024-09-03T15:01:29.865" v="444" actId="1035"/>
          <ac:cxnSpMkLst>
            <pc:docMk/>
            <pc:sldMk cId="2557913048" sldId="2147482368"/>
            <ac:cxnSpMk id="16" creationId="{E67478B2-947B-CDF4-17D0-834323593002}"/>
          </ac:cxnSpMkLst>
        </pc:cxnChg>
        <pc:cxnChg chg="mod">
          <ac:chgData name="Trevor Slade" userId="cc64fbf3-a312-4526-b1bf-277309e8106f" providerId="ADAL" clId="{F4F97926-7988-49E1-8BA1-E1711C14AE74}" dt="2024-09-03T14:59:43.282" v="412" actId="1038"/>
          <ac:cxnSpMkLst>
            <pc:docMk/>
            <pc:sldMk cId="2557913048" sldId="2147482368"/>
            <ac:cxnSpMk id="18" creationId="{4B542B0B-3445-E838-4AF3-E417E36E461E}"/>
          </ac:cxnSpMkLst>
        </pc:cxnChg>
      </pc:sldChg>
      <pc:sldChg chg="del ord">
        <pc:chgData name="Trevor Slade" userId="cc64fbf3-a312-4526-b1bf-277309e8106f" providerId="ADAL" clId="{F4F97926-7988-49E1-8BA1-E1711C14AE74}" dt="2024-09-03T17:15:39.383" v="1118" actId="2696"/>
        <pc:sldMkLst>
          <pc:docMk/>
          <pc:sldMk cId="1906956706" sldId="2147482369"/>
        </pc:sldMkLst>
      </pc:sldChg>
      <pc:sldChg chg="add">
        <pc:chgData name="Trevor Slade" userId="cc64fbf3-a312-4526-b1bf-277309e8106f" providerId="ADAL" clId="{F4F97926-7988-49E1-8BA1-E1711C14AE74}" dt="2024-09-03T17:15:41.316" v="1119"/>
        <pc:sldMkLst>
          <pc:docMk/>
          <pc:sldMk cId="2124429155" sldId="2147482369"/>
        </pc:sldMkLst>
      </pc:sldChg>
      <pc:sldChg chg="del">
        <pc:chgData name="Trevor Slade" userId="cc64fbf3-a312-4526-b1bf-277309e8106f" providerId="ADAL" clId="{F4F97926-7988-49E1-8BA1-E1711C14AE74}" dt="2024-09-03T15:41:57.774" v="968" actId="47"/>
        <pc:sldMkLst>
          <pc:docMk/>
          <pc:sldMk cId="3960579456" sldId="2147482370"/>
        </pc:sldMkLst>
      </pc:sldChg>
      <pc:sldChg chg="modSp mod">
        <pc:chgData name="Trevor Slade" userId="cc64fbf3-a312-4526-b1bf-277309e8106f" providerId="ADAL" clId="{F4F97926-7988-49E1-8BA1-E1711C14AE74}" dt="2024-09-03T15:53:21.804" v="975" actId="1076"/>
        <pc:sldMkLst>
          <pc:docMk/>
          <pc:sldMk cId="661014068" sldId="2147482371"/>
        </pc:sldMkLst>
        <pc:spChg chg="mod">
          <ac:chgData name="Trevor Slade" userId="cc64fbf3-a312-4526-b1bf-277309e8106f" providerId="ADAL" clId="{F4F97926-7988-49E1-8BA1-E1711C14AE74}" dt="2024-09-03T15:53:21.804" v="975" actId="1076"/>
          <ac:spMkLst>
            <pc:docMk/>
            <pc:sldMk cId="661014068" sldId="2147482371"/>
            <ac:spMk id="9" creationId="{3339A6FA-408B-B5BB-1D9F-8A5F8AF9A8AD}"/>
          </ac:spMkLst>
        </pc:spChg>
      </pc:sldChg>
      <pc:sldChg chg="addSp delSp modSp mod ord">
        <pc:chgData name="Trevor Slade" userId="cc64fbf3-a312-4526-b1bf-277309e8106f" providerId="ADAL" clId="{F4F97926-7988-49E1-8BA1-E1711C14AE74}" dt="2024-09-03T17:15:51.250" v="1122" actId="108"/>
        <pc:sldMkLst>
          <pc:docMk/>
          <pc:sldMk cId="1168837279" sldId="2147482374"/>
        </pc:sldMkLst>
        <pc:spChg chg="mod">
          <ac:chgData name="Trevor Slade" userId="cc64fbf3-a312-4526-b1bf-277309e8106f" providerId="ADAL" clId="{F4F97926-7988-49E1-8BA1-E1711C14AE74}" dt="2024-09-03T16:42:37.939" v="1101" actId="20577"/>
          <ac:spMkLst>
            <pc:docMk/>
            <pc:sldMk cId="1168837279" sldId="2147482374"/>
            <ac:spMk id="5" creationId="{422AAC69-3FEE-2C97-F2F2-3F2E99E59095}"/>
          </ac:spMkLst>
        </pc:spChg>
        <pc:spChg chg="del">
          <ac:chgData name="Trevor Slade" userId="cc64fbf3-a312-4526-b1bf-277309e8106f" providerId="ADAL" clId="{F4F97926-7988-49E1-8BA1-E1711C14AE74}" dt="2024-09-03T16:42:31.805" v="1099" actId="478"/>
          <ac:spMkLst>
            <pc:docMk/>
            <pc:sldMk cId="1168837279" sldId="2147482374"/>
            <ac:spMk id="85" creationId="{9FFFA418-4288-B5B3-EC09-225B9889B7C0}"/>
          </ac:spMkLst>
        </pc:spChg>
        <pc:spChg chg="del">
          <ac:chgData name="Trevor Slade" userId="cc64fbf3-a312-4526-b1bf-277309e8106f" providerId="ADAL" clId="{F4F97926-7988-49E1-8BA1-E1711C14AE74}" dt="2024-09-03T16:42:31.805" v="1099" actId="478"/>
          <ac:spMkLst>
            <pc:docMk/>
            <pc:sldMk cId="1168837279" sldId="2147482374"/>
            <ac:spMk id="88" creationId="{B516DC35-15D0-91A3-75B4-1EFA5C8E7DF2}"/>
          </ac:spMkLst>
        </pc:spChg>
        <pc:spChg chg="del">
          <ac:chgData name="Trevor Slade" userId="cc64fbf3-a312-4526-b1bf-277309e8106f" providerId="ADAL" clId="{F4F97926-7988-49E1-8BA1-E1711C14AE74}" dt="2024-09-03T16:42:31.805" v="1099" actId="478"/>
          <ac:spMkLst>
            <pc:docMk/>
            <pc:sldMk cId="1168837279" sldId="2147482374"/>
            <ac:spMk id="96" creationId="{E80524C7-1071-88D1-437D-877A248C40BC}"/>
          </ac:spMkLst>
        </pc:spChg>
        <pc:spChg chg="del">
          <ac:chgData name="Trevor Slade" userId="cc64fbf3-a312-4526-b1bf-277309e8106f" providerId="ADAL" clId="{F4F97926-7988-49E1-8BA1-E1711C14AE74}" dt="2024-09-03T16:42:31.805" v="1099" actId="478"/>
          <ac:spMkLst>
            <pc:docMk/>
            <pc:sldMk cId="1168837279" sldId="2147482374"/>
            <ac:spMk id="105" creationId="{952313D1-5109-D775-A550-4ABF4C58DF48}"/>
          </ac:spMkLst>
        </pc:spChg>
        <pc:spChg chg="del">
          <ac:chgData name="Trevor Slade" userId="cc64fbf3-a312-4526-b1bf-277309e8106f" providerId="ADAL" clId="{F4F97926-7988-49E1-8BA1-E1711C14AE74}" dt="2024-09-03T16:42:31.805" v="1099" actId="478"/>
          <ac:spMkLst>
            <pc:docMk/>
            <pc:sldMk cId="1168837279" sldId="2147482374"/>
            <ac:spMk id="106" creationId="{E587D1C7-5FBE-B62F-3AE9-EA56CB3D40FD}"/>
          </ac:spMkLst>
        </pc:spChg>
        <pc:spChg chg="del">
          <ac:chgData name="Trevor Slade" userId="cc64fbf3-a312-4526-b1bf-277309e8106f" providerId="ADAL" clId="{F4F97926-7988-49E1-8BA1-E1711C14AE74}" dt="2024-09-03T16:42:28.756" v="1096" actId="478"/>
          <ac:spMkLst>
            <pc:docMk/>
            <pc:sldMk cId="1168837279" sldId="2147482374"/>
            <ac:spMk id="110" creationId="{F1BE2C97-497C-6787-671B-7B87C61752C2}"/>
          </ac:spMkLst>
        </pc:spChg>
        <pc:graphicFrameChg chg="add mod">
          <ac:chgData name="Trevor Slade" userId="cc64fbf3-a312-4526-b1bf-277309e8106f" providerId="ADAL" clId="{F4F97926-7988-49E1-8BA1-E1711C14AE74}" dt="2024-09-03T16:42:46.483" v="1104" actId="1076"/>
          <ac:graphicFrameMkLst>
            <pc:docMk/>
            <pc:sldMk cId="1168837279" sldId="2147482374"/>
            <ac:graphicFrameMk id="4" creationId="{7CC29014-A8B1-56EA-52EA-AFBB9B4CE0D5}"/>
          </ac:graphicFrameMkLst>
        </pc:graphicFrameChg>
        <pc:graphicFrameChg chg="add mod modGraphic">
          <ac:chgData name="Trevor Slade" userId="cc64fbf3-a312-4526-b1bf-277309e8106f" providerId="ADAL" clId="{F4F97926-7988-49E1-8BA1-E1711C14AE74}" dt="2024-09-03T17:15:51.250" v="1122" actId="108"/>
          <ac:graphicFrameMkLst>
            <pc:docMk/>
            <pc:sldMk cId="1168837279" sldId="2147482374"/>
            <ac:graphicFrameMk id="7" creationId="{92D6847B-B6D2-025F-C184-2EB5949A28DB}"/>
          </ac:graphicFrameMkLst>
        </pc:graphicFrameChg>
        <pc:graphicFrameChg chg="mod modGraphic">
          <ac:chgData name="Trevor Slade" userId="cc64fbf3-a312-4526-b1bf-277309e8106f" providerId="ADAL" clId="{F4F97926-7988-49E1-8BA1-E1711C14AE74}" dt="2024-09-03T17:15:49.216" v="1120"/>
          <ac:graphicFrameMkLst>
            <pc:docMk/>
            <pc:sldMk cId="1168837279" sldId="2147482374"/>
            <ac:graphicFrameMk id="108" creationId="{28681B63-B6A8-2153-2935-2781795E900C}"/>
          </ac:graphicFrameMkLst>
        </pc:graphicFrameChg>
        <pc:picChg chg="del">
          <ac:chgData name="Trevor Slade" userId="cc64fbf3-a312-4526-b1bf-277309e8106f" providerId="ADAL" clId="{F4F97926-7988-49E1-8BA1-E1711C14AE74}" dt="2024-09-03T16:42:26.950" v="1095" actId="478"/>
          <ac:picMkLst>
            <pc:docMk/>
            <pc:sldMk cId="1168837279" sldId="2147482374"/>
            <ac:picMk id="84" creationId="{06B9A621-2EB7-E7A1-6621-82257EC568E7}"/>
          </ac:picMkLst>
        </pc:pic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86" creationId="{B2A04C0F-D097-BAE7-0D80-5DE42BEAA540}"/>
          </ac:cxnSpMkLst>
        </pc:cxnChg>
        <pc:cxnChg chg="del">
          <ac:chgData name="Trevor Slade" userId="cc64fbf3-a312-4526-b1bf-277309e8106f" providerId="ADAL" clId="{F4F97926-7988-49E1-8BA1-E1711C14AE74}" dt="2024-09-03T16:42:29.589" v="1097" actId="478"/>
          <ac:cxnSpMkLst>
            <pc:docMk/>
            <pc:sldMk cId="1168837279" sldId="2147482374"/>
            <ac:cxnSpMk id="87" creationId="{F24873A9-E99A-51F1-C0F6-6749C9C55F3B}"/>
          </ac:cxnSpMkLst>
        </pc:cxnChg>
        <pc:cxnChg chg="del">
          <ac:chgData name="Trevor Slade" userId="cc64fbf3-a312-4526-b1bf-277309e8106f" providerId="ADAL" clId="{F4F97926-7988-49E1-8BA1-E1711C14AE74}" dt="2024-09-03T16:42:30.323" v="1098" actId="478"/>
          <ac:cxnSpMkLst>
            <pc:docMk/>
            <pc:sldMk cId="1168837279" sldId="2147482374"/>
            <ac:cxnSpMk id="89" creationId="{63E5F26B-5C89-318D-1AD8-BA25AAD85809}"/>
          </ac:cxnSpMkLst>
        </pc:cxnChg>
        <pc:cxnChg chg="del mod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94" creationId="{5AE0BD9E-8109-18CF-68E5-C7CAC3B47B00}"/>
          </ac:cxnSpMkLst>
        </pc:cxn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95" creationId="{614FB119-7525-9EEA-B805-78B355300408}"/>
          </ac:cxnSpMkLst>
        </pc:cxn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97" creationId="{0C9506CD-E058-5422-572F-7FA1C7D9A062}"/>
          </ac:cxnSpMkLst>
        </pc:cxn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98" creationId="{E25DC727-9229-41B7-91DE-B1D897E484B1}"/>
          </ac:cxnSpMkLst>
        </pc:cxn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99" creationId="{8FE293EC-014C-8197-0B1C-0363CE69DD9F}"/>
          </ac:cxnSpMkLst>
        </pc:cxn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100" creationId="{CFB80558-56FB-8DD3-92FA-7342BAD4C0A3}"/>
          </ac:cxnSpMkLst>
        </pc:cxn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101" creationId="{2D73D51E-9651-C0F9-E4E3-F0667929BBF2}"/>
          </ac:cxnSpMkLst>
        </pc:cxnChg>
        <pc:cxnChg chg="del">
          <ac:chgData name="Trevor Slade" userId="cc64fbf3-a312-4526-b1bf-277309e8106f" providerId="ADAL" clId="{F4F97926-7988-49E1-8BA1-E1711C14AE74}" dt="2024-09-03T16:42:31.805" v="1099" actId="478"/>
          <ac:cxnSpMkLst>
            <pc:docMk/>
            <pc:sldMk cId="1168837279" sldId="2147482374"/>
            <ac:cxnSpMk id="102" creationId="{E5ECCDF4-0988-563B-8CA2-B56B2F0143F3}"/>
          </ac:cxnSpMkLst>
        </pc:cxnChg>
      </pc:sldChg>
      <pc:sldChg chg="addSp delSp modSp mod ord">
        <pc:chgData name="Trevor Slade" userId="cc64fbf3-a312-4526-b1bf-277309e8106f" providerId="ADAL" clId="{F4F97926-7988-49E1-8BA1-E1711C14AE74}" dt="2024-09-03T16:44:07.647" v="1115" actId="1076"/>
        <pc:sldMkLst>
          <pc:docMk/>
          <pc:sldMk cId="1791099629" sldId="2147482376"/>
        </pc:sldMkLst>
        <pc:spChg chg="mod">
          <ac:chgData name="Trevor Slade" userId="cc64fbf3-a312-4526-b1bf-277309e8106f" providerId="ADAL" clId="{F4F97926-7988-49E1-8BA1-E1711C14AE74}" dt="2024-09-03T16:36:59.981" v="1073" actId="20577"/>
          <ac:spMkLst>
            <pc:docMk/>
            <pc:sldMk cId="1791099629" sldId="2147482376"/>
            <ac:spMk id="4" creationId="{BDED0B9C-E22E-D54D-E4EF-8B8718FA138B}"/>
          </ac:spMkLst>
        </pc:spChg>
        <pc:spChg chg="del mod">
          <ac:chgData name="Trevor Slade" userId="cc64fbf3-a312-4526-b1bf-277309e8106f" providerId="ADAL" clId="{F4F97926-7988-49E1-8BA1-E1711C14AE74}" dt="2024-09-03T15:57:05.673" v="1018" actId="478"/>
          <ac:spMkLst>
            <pc:docMk/>
            <pc:sldMk cId="1791099629" sldId="2147482376"/>
            <ac:spMk id="8" creationId="{BF8F3551-CE38-8AA3-E85C-BA2A8A94D5D8}"/>
          </ac:spMkLst>
        </pc:spChg>
        <pc:spChg chg="add mod">
          <ac:chgData name="Trevor Slade" userId="cc64fbf3-a312-4526-b1bf-277309e8106f" providerId="ADAL" clId="{F4F97926-7988-49E1-8BA1-E1711C14AE74}" dt="2024-09-03T14:56:53.530" v="377" actId="1076"/>
          <ac:spMkLst>
            <pc:docMk/>
            <pc:sldMk cId="1791099629" sldId="2147482376"/>
            <ac:spMk id="9" creationId="{B46015C1-C18F-8901-A55E-617C623C4C59}"/>
          </ac:spMkLst>
        </pc:spChg>
        <pc:spChg chg="del">
          <ac:chgData name="Trevor Slade" userId="cc64fbf3-a312-4526-b1bf-277309e8106f" providerId="ADAL" clId="{F4F97926-7988-49E1-8BA1-E1711C14AE74}" dt="2024-09-03T15:57:06.727" v="1019" actId="478"/>
          <ac:spMkLst>
            <pc:docMk/>
            <pc:sldMk cId="1791099629" sldId="2147482376"/>
            <ac:spMk id="10" creationId="{DF3E1E42-F972-A940-A9F8-E79C72758E7E}"/>
          </ac:spMkLst>
        </pc:spChg>
        <pc:spChg chg="mod">
          <ac:chgData name="Trevor Slade" userId="cc64fbf3-a312-4526-b1bf-277309e8106f" providerId="ADAL" clId="{F4F97926-7988-49E1-8BA1-E1711C14AE74}" dt="2024-09-03T16:35:17.459" v="1028" actId="20577"/>
          <ac:spMkLst>
            <pc:docMk/>
            <pc:sldMk cId="1791099629" sldId="2147482376"/>
            <ac:spMk id="11" creationId="{07A27D8C-776B-9CA9-0C9F-E03D1866D71A}"/>
          </ac:spMkLst>
        </pc:spChg>
        <pc:spChg chg="mod">
          <ac:chgData name="Trevor Slade" userId="cc64fbf3-a312-4526-b1bf-277309e8106f" providerId="ADAL" clId="{F4F97926-7988-49E1-8BA1-E1711C14AE74}" dt="2024-09-03T16:44:05.513" v="1114" actId="1076"/>
          <ac:spMkLst>
            <pc:docMk/>
            <pc:sldMk cId="1791099629" sldId="2147482376"/>
            <ac:spMk id="12" creationId="{BF9E9195-D704-7FEE-9B8A-2908ED51C79B}"/>
          </ac:spMkLst>
        </pc:spChg>
        <pc:spChg chg="mod">
          <ac:chgData name="Trevor Slade" userId="cc64fbf3-a312-4526-b1bf-277309e8106f" providerId="ADAL" clId="{F4F97926-7988-49E1-8BA1-E1711C14AE74}" dt="2024-09-03T16:44:07.647" v="1115" actId="1076"/>
          <ac:spMkLst>
            <pc:docMk/>
            <pc:sldMk cId="1791099629" sldId="2147482376"/>
            <ac:spMk id="13" creationId="{934162CD-860C-E16C-2CDD-B8BC046A4352}"/>
          </ac:spMkLst>
        </pc:spChg>
        <pc:spChg chg="mod">
          <ac:chgData name="Trevor Slade" userId="cc64fbf3-a312-4526-b1bf-277309e8106f" providerId="ADAL" clId="{F4F97926-7988-49E1-8BA1-E1711C14AE74}" dt="2024-09-03T15:35:46.254" v="591" actId="113"/>
          <ac:spMkLst>
            <pc:docMk/>
            <pc:sldMk cId="1791099629" sldId="2147482376"/>
            <ac:spMk id="14" creationId="{68B32553-CBFC-C062-3E7A-D069A9D21EB9}"/>
          </ac:spMkLst>
        </pc:spChg>
        <pc:spChg chg="add mod">
          <ac:chgData name="Trevor Slade" userId="cc64fbf3-a312-4526-b1bf-277309e8106f" providerId="ADAL" clId="{F4F97926-7988-49E1-8BA1-E1711C14AE74}" dt="2024-09-03T15:35:54.486" v="592" actId="113"/>
          <ac:spMkLst>
            <pc:docMk/>
            <pc:sldMk cId="1791099629" sldId="2147482376"/>
            <ac:spMk id="15" creationId="{3827A82F-11C3-4E6D-52F3-EB0CB90DF5E5}"/>
          </ac:spMkLst>
        </pc:spChg>
        <pc:spChg chg="add del mod">
          <ac:chgData name="Trevor Slade" userId="cc64fbf3-a312-4526-b1bf-277309e8106f" providerId="ADAL" clId="{F4F97926-7988-49E1-8BA1-E1711C14AE74}" dt="2024-09-03T15:29:23.897" v="519" actId="478"/>
          <ac:spMkLst>
            <pc:docMk/>
            <pc:sldMk cId="1791099629" sldId="2147482376"/>
            <ac:spMk id="16" creationId="{822F6F82-8F6A-797C-5EF6-32658A340850}"/>
          </ac:spMkLst>
        </pc:spChg>
        <pc:spChg chg="add del mod">
          <ac:chgData name="Trevor Slade" userId="cc64fbf3-a312-4526-b1bf-277309e8106f" providerId="ADAL" clId="{F4F97926-7988-49E1-8BA1-E1711C14AE74}" dt="2024-09-02T04:44:27.161" v="58" actId="478"/>
          <ac:spMkLst>
            <pc:docMk/>
            <pc:sldMk cId="1791099629" sldId="2147482376"/>
            <ac:spMk id="17" creationId="{861F4657-7140-C070-F7C4-DBB01C6C8F35}"/>
          </ac:spMkLst>
        </pc:spChg>
        <pc:spChg chg="add mod">
          <ac:chgData name="Trevor Slade" userId="cc64fbf3-a312-4526-b1bf-277309e8106f" providerId="ADAL" clId="{F4F97926-7988-49E1-8BA1-E1711C14AE74}" dt="2024-09-03T16:37:18.150" v="1077" actId="20577"/>
          <ac:spMkLst>
            <pc:docMk/>
            <pc:sldMk cId="1791099629" sldId="2147482376"/>
            <ac:spMk id="17" creationId="{A7E218D0-C271-98D9-572B-3A6A5B4B757F}"/>
          </ac:spMkLst>
        </pc:spChg>
        <pc:spChg chg="add mod">
          <ac:chgData name="Trevor Slade" userId="cc64fbf3-a312-4526-b1bf-277309e8106f" providerId="ADAL" clId="{F4F97926-7988-49E1-8BA1-E1711C14AE74}" dt="2024-09-03T16:37:32.282" v="1081" actId="20577"/>
          <ac:spMkLst>
            <pc:docMk/>
            <pc:sldMk cId="1791099629" sldId="2147482376"/>
            <ac:spMk id="18" creationId="{05183A0A-CCC3-D893-813E-F64FB5E8D96B}"/>
          </ac:spMkLst>
        </pc:spChg>
        <pc:spChg chg="add mod">
          <ac:chgData name="Trevor Slade" userId="cc64fbf3-a312-4526-b1bf-277309e8106f" providerId="ADAL" clId="{F4F97926-7988-49E1-8BA1-E1711C14AE74}" dt="2024-09-03T15:35:56.014" v="593" actId="113"/>
          <ac:spMkLst>
            <pc:docMk/>
            <pc:sldMk cId="1791099629" sldId="2147482376"/>
            <ac:spMk id="20" creationId="{23B325E9-687F-9055-0224-259A5AC52A0C}"/>
          </ac:spMkLst>
        </pc:spChg>
        <pc:spChg chg="add mod">
          <ac:chgData name="Trevor Slade" userId="cc64fbf3-a312-4526-b1bf-277309e8106f" providerId="ADAL" clId="{F4F97926-7988-49E1-8BA1-E1711C14AE74}" dt="2024-09-03T15:42:30.191" v="974" actId="20577"/>
          <ac:spMkLst>
            <pc:docMk/>
            <pc:sldMk cId="1791099629" sldId="2147482376"/>
            <ac:spMk id="21" creationId="{41FCEC8B-DDEE-6DA8-0084-22A8529FCAF3}"/>
          </ac:spMkLst>
        </pc:spChg>
        <pc:spChg chg="add mod">
          <ac:chgData name="Trevor Slade" userId="cc64fbf3-a312-4526-b1bf-277309e8106f" providerId="ADAL" clId="{F4F97926-7988-49E1-8BA1-E1711C14AE74}" dt="2024-09-02T04:51:18.738" v="227" actId="1076"/>
          <ac:spMkLst>
            <pc:docMk/>
            <pc:sldMk cId="1791099629" sldId="2147482376"/>
            <ac:spMk id="21" creationId="{8E119C5B-2352-CF8A-9DDC-23B5E449A647}"/>
          </ac:spMkLst>
        </pc:spChg>
        <pc:graphicFrameChg chg="mod">
          <ac:chgData name="Trevor Slade" userId="cc64fbf3-a312-4526-b1bf-277309e8106f" providerId="ADAL" clId="{F4F97926-7988-49E1-8BA1-E1711C14AE74}" dt="2024-09-03T16:37:05.231" v="1074" actId="1076"/>
          <ac:graphicFrameMkLst>
            <pc:docMk/>
            <pc:sldMk cId="1791099629" sldId="2147482376"/>
            <ac:graphicFrameMk id="5" creationId="{E7671342-50B3-07FC-FDF5-AF9578810624}"/>
          </ac:graphicFrameMkLst>
        </pc:graphicFrameChg>
        <pc:cxnChg chg="add del mod">
          <ac:chgData name="Trevor Slade" userId="cc64fbf3-a312-4526-b1bf-277309e8106f" providerId="ADAL" clId="{F4F97926-7988-49E1-8BA1-E1711C14AE74}" dt="2024-09-03T15:29:22.413" v="518" actId="478"/>
          <ac:cxnSpMkLst>
            <pc:docMk/>
            <pc:sldMk cId="1791099629" sldId="2147482376"/>
            <ac:cxnSpMk id="19" creationId="{56B4FF35-58E6-7DA3-BD59-6F02B237BD05}"/>
          </ac:cxnSpMkLst>
        </pc:cxnChg>
      </pc:sldChg>
      <pc:sldChg chg="addSp delSp modSp mod">
        <pc:chgData name="Trevor Slade" userId="cc64fbf3-a312-4526-b1bf-277309e8106f" providerId="ADAL" clId="{F4F97926-7988-49E1-8BA1-E1711C14AE74}" dt="2024-09-03T17:04:55.880" v="1117" actId="1076"/>
        <pc:sldMkLst>
          <pc:docMk/>
          <pc:sldMk cId="2399282881" sldId="2147482378"/>
        </pc:sldMkLst>
        <pc:spChg chg="add del mod">
          <ac:chgData name="Trevor Slade" userId="cc64fbf3-a312-4526-b1bf-277309e8106f" providerId="ADAL" clId="{F4F97926-7988-49E1-8BA1-E1711C14AE74}" dt="2024-09-03T17:04:53.951" v="1116" actId="478"/>
          <ac:spMkLst>
            <pc:docMk/>
            <pc:sldMk cId="2399282881" sldId="2147482378"/>
            <ac:spMk id="4" creationId="{D30FC558-A4E4-5A4B-DFFE-BD8AEA35D983}"/>
          </ac:spMkLst>
        </pc:spChg>
        <pc:spChg chg="mod">
          <ac:chgData name="Trevor Slade" userId="cc64fbf3-a312-4526-b1bf-277309e8106f" providerId="ADAL" clId="{F4F97926-7988-49E1-8BA1-E1711C14AE74}" dt="2024-09-03T17:04:55.880" v="1117" actId="1076"/>
          <ac:spMkLst>
            <pc:docMk/>
            <pc:sldMk cId="2399282881" sldId="2147482378"/>
            <ac:spMk id="11" creationId="{F5E835D9-1292-38DE-664D-789F63FF26A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AppData\Local\Microsoft\Windows\INetCache\Content.Outlook\1I3E8DNC\Book1%20(005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AppData\Local\Microsoft\Windows\INetCache\Content.Outlook\1I3E8DNC\Book1%20(005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Downloads\data%20(2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revor.slade\Downloads\data%20(2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Long Term Expense Trend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3!$B$80</c:f>
              <c:strCache>
                <c:ptCount val="1"/>
                <c:pt idx="0">
                  <c:v>Labor + Vehicles</c:v>
                </c:pt>
              </c:strCache>
            </c:strRef>
          </c:tx>
          <c:spPr>
            <a:ln w="19050" cap="rnd">
              <a:solidFill>
                <a:srgbClr val="C71F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rgbClr val="C71F41"/>
                </a:solidFill>
              </a:ln>
              <a:effectLst/>
            </c:spPr>
          </c:marker>
          <c:xVal>
            <c:numRef>
              <c:f>Sheet3!$C$79:$AX$79</c:f>
              <c:numCache>
                <c:formatCode>mmm\-yy</c:formatCode>
                <c:ptCount val="48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  <c:pt idx="47">
                  <c:v>45474</c:v>
                </c:pt>
              </c:numCache>
            </c:numRef>
          </c:xVal>
          <c:yVal>
            <c:numRef>
              <c:f>Sheet3!$C$80:$AX$80</c:f>
              <c:numCache>
                <c:formatCode>_("$"* #,##0.00_);_("$"* \(#,##0.00\);_("$"* "-"??_);_(@_)</c:formatCode>
                <c:ptCount val="48"/>
                <c:pt idx="0">
                  <c:v>1550455.6099999936</c:v>
                </c:pt>
                <c:pt idx="1">
                  <c:v>2096417.67</c:v>
                </c:pt>
                <c:pt idx="2">
                  <c:v>1731306.0499999986</c:v>
                </c:pt>
                <c:pt idx="3">
                  <c:v>1785485.4500000076</c:v>
                </c:pt>
                <c:pt idx="4">
                  <c:v>1488422.2199999797</c:v>
                </c:pt>
                <c:pt idx="5">
                  <c:v>1220370.5000000589</c:v>
                </c:pt>
                <c:pt idx="6">
                  <c:v>588261.12999988231</c:v>
                </c:pt>
                <c:pt idx="7">
                  <c:v>773655.42000036268</c:v>
                </c:pt>
                <c:pt idx="8">
                  <c:v>868792.35000044305</c:v>
                </c:pt>
                <c:pt idx="9">
                  <c:v>823003.31999997282</c:v>
                </c:pt>
                <c:pt idx="10">
                  <c:v>742604.22000035946</c:v>
                </c:pt>
                <c:pt idx="11">
                  <c:v>900487.59000010206</c:v>
                </c:pt>
                <c:pt idx="12">
                  <c:v>799471.21000003535</c:v>
                </c:pt>
                <c:pt idx="13">
                  <c:v>528158.59999956179</c:v>
                </c:pt>
                <c:pt idx="14">
                  <c:v>780900.81999990949</c:v>
                </c:pt>
                <c:pt idx="15">
                  <c:v>823690.34000017971</c:v>
                </c:pt>
                <c:pt idx="16">
                  <c:v>930867.35999993922</c:v>
                </c:pt>
                <c:pt idx="17">
                  <c:v>1156578.2900000841</c:v>
                </c:pt>
                <c:pt idx="18">
                  <c:v>1197423.6099999289</c:v>
                </c:pt>
                <c:pt idx="19">
                  <c:v>1315931.1099999219</c:v>
                </c:pt>
                <c:pt idx="20">
                  <c:v>1508691.7700000163</c:v>
                </c:pt>
                <c:pt idx="21">
                  <c:v>1435674.6399999331</c:v>
                </c:pt>
                <c:pt idx="22">
                  <c:v>1531645.020000631</c:v>
                </c:pt>
                <c:pt idx="23">
                  <c:v>1696592.8899994381</c:v>
                </c:pt>
                <c:pt idx="24">
                  <c:v>1675519.8100011714</c:v>
                </c:pt>
                <c:pt idx="25">
                  <c:v>1972596.8899998809</c:v>
                </c:pt>
                <c:pt idx="26">
                  <c:v>2023636.6000004131</c:v>
                </c:pt>
                <c:pt idx="27">
                  <c:v>1866239.7300005211</c:v>
                </c:pt>
                <c:pt idx="28">
                  <c:v>1799869.0500027705</c:v>
                </c:pt>
                <c:pt idx="29">
                  <c:v>1975602.2700021854</c:v>
                </c:pt>
                <c:pt idx="30">
                  <c:v>1468799.3400015146</c:v>
                </c:pt>
                <c:pt idx="31">
                  <c:v>1835694.9500015713</c:v>
                </c:pt>
                <c:pt idx="32">
                  <c:v>1752825.7000023485</c:v>
                </c:pt>
                <c:pt idx="33">
                  <c:v>1664421.0300012771</c:v>
                </c:pt>
                <c:pt idx="34">
                  <c:v>1889980.3600010367</c:v>
                </c:pt>
                <c:pt idx="35">
                  <c:v>1743887.4800019052</c:v>
                </c:pt>
                <c:pt idx="36">
                  <c:v>1669628.5200021975</c:v>
                </c:pt>
                <c:pt idx="37">
                  <c:v>1672868.7200002731</c:v>
                </c:pt>
                <c:pt idx="38">
                  <c:v>1678422.2899998822</c:v>
                </c:pt>
                <c:pt idx="39">
                  <c:v>1682729.0000017365</c:v>
                </c:pt>
                <c:pt idx="40">
                  <c:v>1645385.4300003075</c:v>
                </c:pt>
                <c:pt idx="41">
                  <c:v>1639263.3800004348</c:v>
                </c:pt>
                <c:pt idx="42">
                  <c:v>1731769.1700001792</c:v>
                </c:pt>
                <c:pt idx="43">
                  <c:v>1772774.9299999778</c:v>
                </c:pt>
                <c:pt idx="44">
                  <c:v>1585440.0900005053</c:v>
                </c:pt>
                <c:pt idx="45">
                  <c:v>1706839.3100010939</c:v>
                </c:pt>
                <c:pt idx="46">
                  <c:v>1581744.6200003382</c:v>
                </c:pt>
                <c:pt idx="47">
                  <c:v>1584166.17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37-46C9-95A7-304E9CD41749}"/>
            </c:ext>
          </c:extLst>
        </c:ser>
        <c:ser>
          <c:idx val="1"/>
          <c:order val="1"/>
          <c:tx>
            <c:strRef>
              <c:f>Sheet3!$B$26</c:f>
              <c:strCache>
                <c:ptCount val="1"/>
                <c:pt idx="0">
                  <c:v>WATER HAULING, INJ., DISP.</c:v>
                </c:pt>
              </c:strCache>
            </c:strRef>
          </c:tx>
          <c:spPr>
            <a:ln w="19050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7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xVal>
            <c:numRef>
              <c:f>Sheet3!$C$79:$AX$79</c:f>
              <c:numCache>
                <c:formatCode>mmm\-yy</c:formatCode>
                <c:ptCount val="48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  <c:pt idx="47">
                  <c:v>45474</c:v>
                </c:pt>
              </c:numCache>
            </c:numRef>
          </c:xVal>
          <c:yVal>
            <c:numRef>
              <c:f>Sheet3!$C$26:$AX$26</c:f>
              <c:numCache>
                <c:formatCode>_("$"* #,##0.00_);_("$"* \(#,##0.00\);_("$"* "-"??_);_(@_)</c:formatCode>
                <c:ptCount val="48"/>
                <c:pt idx="0">
                  <c:v>1115956.3599999989</c:v>
                </c:pt>
                <c:pt idx="1">
                  <c:v>1011163.4900000014</c:v>
                </c:pt>
                <c:pt idx="2">
                  <c:v>906977.19999999844</c:v>
                </c:pt>
                <c:pt idx="3">
                  <c:v>849244.97</c:v>
                </c:pt>
                <c:pt idx="4">
                  <c:v>1025459.2700000012</c:v>
                </c:pt>
                <c:pt idx="5">
                  <c:v>1039981.3599999999</c:v>
                </c:pt>
                <c:pt idx="6">
                  <c:v>457099.91999999963</c:v>
                </c:pt>
                <c:pt idx="7">
                  <c:v>732755.47000000218</c:v>
                </c:pt>
                <c:pt idx="8">
                  <c:v>684623.04000000411</c:v>
                </c:pt>
                <c:pt idx="9">
                  <c:v>758652.23000002047</c:v>
                </c:pt>
                <c:pt idx="10">
                  <c:v>647824.48000000452</c:v>
                </c:pt>
                <c:pt idx="11">
                  <c:v>615400.9400000053</c:v>
                </c:pt>
                <c:pt idx="12">
                  <c:v>675895.10999999964</c:v>
                </c:pt>
                <c:pt idx="13">
                  <c:v>525675.49999999709</c:v>
                </c:pt>
                <c:pt idx="14">
                  <c:v>618712.74999999511</c:v>
                </c:pt>
                <c:pt idx="15">
                  <c:v>618664.78000004112</c:v>
                </c:pt>
                <c:pt idx="16">
                  <c:v>614973.82000002195</c:v>
                </c:pt>
                <c:pt idx="17">
                  <c:v>566561.11000000266</c:v>
                </c:pt>
                <c:pt idx="18">
                  <c:v>536057.22999994655</c:v>
                </c:pt>
                <c:pt idx="19">
                  <c:v>735932.72999999765</c:v>
                </c:pt>
                <c:pt idx="20">
                  <c:v>678892.4500000003</c:v>
                </c:pt>
                <c:pt idx="21">
                  <c:v>704797.77999999921</c:v>
                </c:pt>
                <c:pt idx="22">
                  <c:v>909412.99000000209</c:v>
                </c:pt>
                <c:pt idx="23">
                  <c:v>1018677.0400000024</c:v>
                </c:pt>
                <c:pt idx="24">
                  <c:v>998837.10999999987</c:v>
                </c:pt>
                <c:pt idx="25">
                  <c:v>1036085.6099999563</c:v>
                </c:pt>
                <c:pt idx="26">
                  <c:v>1520603.7200000063</c:v>
                </c:pt>
                <c:pt idx="27">
                  <c:v>1136524.7300000028</c:v>
                </c:pt>
                <c:pt idx="28">
                  <c:v>1005595.040000002</c:v>
                </c:pt>
                <c:pt idx="29">
                  <c:v>1051714.7900000017</c:v>
                </c:pt>
                <c:pt idx="30">
                  <c:v>862559.4500000017</c:v>
                </c:pt>
                <c:pt idx="31">
                  <c:v>902910.86999999906</c:v>
                </c:pt>
                <c:pt idx="32">
                  <c:v>843194.8200000003</c:v>
                </c:pt>
                <c:pt idx="33">
                  <c:v>819728.24000000022</c:v>
                </c:pt>
                <c:pt idx="34">
                  <c:v>836949.87999999919</c:v>
                </c:pt>
                <c:pt idx="35">
                  <c:v>834613.0699999989</c:v>
                </c:pt>
                <c:pt idx="36">
                  <c:v>837965.67999999993</c:v>
                </c:pt>
                <c:pt idx="37">
                  <c:v>833594.24999999919</c:v>
                </c:pt>
                <c:pt idx="38">
                  <c:v>804195.52</c:v>
                </c:pt>
                <c:pt idx="39">
                  <c:v>769863.33999999787</c:v>
                </c:pt>
                <c:pt idx="40">
                  <c:v>758674.55999999971</c:v>
                </c:pt>
                <c:pt idx="41">
                  <c:v>603255.99</c:v>
                </c:pt>
                <c:pt idx="42">
                  <c:v>640259.52999999933</c:v>
                </c:pt>
                <c:pt idx="43">
                  <c:v>782530.79000000027</c:v>
                </c:pt>
                <c:pt idx="44">
                  <c:v>772548.16999999969</c:v>
                </c:pt>
                <c:pt idx="45">
                  <c:v>869664.83000000054</c:v>
                </c:pt>
                <c:pt idx="46">
                  <c:v>787758.90000000037</c:v>
                </c:pt>
                <c:pt idx="47">
                  <c:v>875116.6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37-46C9-95A7-304E9CD41749}"/>
            </c:ext>
          </c:extLst>
        </c:ser>
        <c:ser>
          <c:idx val="2"/>
          <c:order val="2"/>
          <c:tx>
            <c:strRef>
              <c:f>Sheet3!$B$27</c:f>
              <c:strCache>
                <c:ptCount val="1"/>
                <c:pt idx="0">
                  <c:v>WELL SERVICES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Sheet3!$C$79:$AX$79</c:f>
              <c:numCache>
                <c:formatCode>mmm\-yy</c:formatCode>
                <c:ptCount val="48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  <c:pt idx="47">
                  <c:v>45474</c:v>
                </c:pt>
              </c:numCache>
            </c:numRef>
          </c:xVal>
          <c:yVal>
            <c:numRef>
              <c:f>Sheet3!$C$27:$AX$27</c:f>
              <c:numCache>
                <c:formatCode>_("$"* #,##0.00_);_("$"* \(#,##0.00\);_("$"* "-"??_);_(@_)</c:formatCode>
                <c:ptCount val="48"/>
                <c:pt idx="0">
                  <c:v>896450.11999999988</c:v>
                </c:pt>
                <c:pt idx="1">
                  <c:v>565781.12</c:v>
                </c:pt>
                <c:pt idx="2">
                  <c:v>773236.64000000083</c:v>
                </c:pt>
                <c:pt idx="3">
                  <c:v>643930.25999999978</c:v>
                </c:pt>
                <c:pt idx="4">
                  <c:v>812179.99000000022</c:v>
                </c:pt>
                <c:pt idx="5">
                  <c:v>383322.62999999971</c:v>
                </c:pt>
                <c:pt idx="6">
                  <c:v>197090.17999999991</c:v>
                </c:pt>
                <c:pt idx="7">
                  <c:v>446859.34000000026</c:v>
                </c:pt>
                <c:pt idx="8">
                  <c:v>716653.31999999983</c:v>
                </c:pt>
                <c:pt idx="9">
                  <c:v>466030.76999999967</c:v>
                </c:pt>
                <c:pt idx="10">
                  <c:v>407835.4300000029</c:v>
                </c:pt>
                <c:pt idx="11">
                  <c:v>641866.60000000184</c:v>
                </c:pt>
                <c:pt idx="12">
                  <c:v>538388.24999999988</c:v>
                </c:pt>
                <c:pt idx="13">
                  <c:v>319743.24000000011</c:v>
                </c:pt>
                <c:pt idx="14">
                  <c:v>203636.1399999951</c:v>
                </c:pt>
                <c:pt idx="15">
                  <c:v>265348.39999999997</c:v>
                </c:pt>
                <c:pt idx="16">
                  <c:v>201923.14999999944</c:v>
                </c:pt>
                <c:pt idx="17">
                  <c:v>590705.62999999989</c:v>
                </c:pt>
                <c:pt idx="18">
                  <c:v>823015.68999999727</c:v>
                </c:pt>
                <c:pt idx="19">
                  <c:v>1005426.8500000001</c:v>
                </c:pt>
                <c:pt idx="20">
                  <c:v>1554093.4400000004</c:v>
                </c:pt>
                <c:pt idx="21">
                  <c:v>2179431.35</c:v>
                </c:pt>
                <c:pt idx="22">
                  <c:v>2221805.86</c:v>
                </c:pt>
                <c:pt idx="23">
                  <c:v>2383848.37</c:v>
                </c:pt>
                <c:pt idx="24">
                  <c:v>3110288.24</c:v>
                </c:pt>
                <c:pt idx="25">
                  <c:v>2230481.3000000003</c:v>
                </c:pt>
                <c:pt idx="26">
                  <c:v>1233887.1100000001</c:v>
                </c:pt>
                <c:pt idx="27">
                  <c:v>834425.96000000031</c:v>
                </c:pt>
                <c:pt idx="28">
                  <c:v>856890.68000000028</c:v>
                </c:pt>
                <c:pt idx="29">
                  <c:v>1392771.26</c:v>
                </c:pt>
                <c:pt idx="30">
                  <c:v>804040.65</c:v>
                </c:pt>
                <c:pt idx="31">
                  <c:v>800626.32999999973</c:v>
                </c:pt>
                <c:pt idx="32">
                  <c:v>1068900.4699999997</c:v>
                </c:pt>
                <c:pt idx="33">
                  <c:v>1567746.4599999993</c:v>
                </c:pt>
                <c:pt idx="34">
                  <c:v>1161584.6500000008</c:v>
                </c:pt>
                <c:pt idx="35">
                  <c:v>783678.97000000044</c:v>
                </c:pt>
                <c:pt idx="36">
                  <c:v>688391.53999999992</c:v>
                </c:pt>
                <c:pt idx="37">
                  <c:v>1010979.8300000001</c:v>
                </c:pt>
                <c:pt idx="38">
                  <c:v>825630.69000000076</c:v>
                </c:pt>
                <c:pt idx="39">
                  <c:v>662001.78999999957</c:v>
                </c:pt>
                <c:pt idx="40">
                  <c:v>624270.23999999987</c:v>
                </c:pt>
                <c:pt idx="41">
                  <c:v>587210.62</c:v>
                </c:pt>
                <c:pt idx="42">
                  <c:v>592263.58999999962</c:v>
                </c:pt>
                <c:pt idx="43">
                  <c:v>954802.22999999893</c:v>
                </c:pt>
                <c:pt idx="44">
                  <c:v>808174.33</c:v>
                </c:pt>
                <c:pt idx="45">
                  <c:v>937484.00999999931</c:v>
                </c:pt>
                <c:pt idx="46">
                  <c:v>1024744.9199999999</c:v>
                </c:pt>
                <c:pt idx="47">
                  <c:v>759656.27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37-46C9-95A7-304E9CD41749}"/>
            </c:ext>
          </c:extLst>
        </c:ser>
        <c:ser>
          <c:idx val="3"/>
          <c:order val="3"/>
          <c:tx>
            <c:strRef>
              <c:f>Sheet3!$B$81</c:f>
              <c:strCache>
                <c:ptCount val="1"/>
                <c:pt idx="0">
                  <c:v>Compression RM &amp; Rentals</c:v>
                </c:pt>
              </c:strCache>
            </c:strRef>
          </c:tx>
          <c:spPr>
            <a:ln w="19050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7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xVal>
            <c:numRef>
              <c:f>Sheet3!$C$79:$AX$79</c:f>
              <c:numCache>
                <c:formatCode>mmm\-yy</c:formatCode>
                <c:ptCount val="48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  <c:pt idx="21">
                  <c:v>44682</c:v>
                </c:pt>
                <c:pt idx="22">
                  <c:v>44713</c:v>
                </c:pt>
                <c:pt idx="23">
                  <c:v>44743</c:v>
                </c:pt>
                <c:pt idx="24">
                  <c:v>44774</c:v>
                </c:pt>
                <c:pt idx="25">
                  <c:v>44805</c:v>
                </c:pt>
                <c:pt idx="26">
                  <c:v>44835</c:v>
                </c:pt>
                <c:pt idx="27">
                  <c:v>44866</c:v>
                </c:pt>
                <c:pt idx="28">
                  <c:v>44896</c:v>
                </c:pt>
                <c:pt idx="29">
                  <c:v>44927</c:v>
                </c:pt>
                <c:pt idx="30">
                  <c:v>44958</c:v>
                </c:pt>
                <c:pt idx="31">
                  <c:v>44986</c:v>
                </c:pt>
                <c:pt idx="32">
                  <c:v>45017</c:v>
                </c:pt>
                <c:pt idx="33">
                  <c:v>45047</c:v>
                </c:pt>
                <c:pt idx="34">
                  <c:v>45078</c:v>
                </c:pt>
                <c:pt idx="35">
                  <c:v>45108</c:v>
                </c:pt>
                <c:pt idx="36">
                  <c:v>45139</c:v>
                </c:pt>
                <c:pt idx="37">
                  <c:v>45170</c:v>
                </c:pt>
                <c:pt idx="38">
                  <c:v>45200</c:v>
                </c:pt>
                <c:pt idx="39">
                  <c:v>45231</c:v>
                </c:pt>
                <c:pt idx="40">
                  <c:v>45261</c:v>
                </c:pt>
                <c:pt idx="41">
                  <c:v>45292</c:v>
                </c:pt>
                <c:pt idx="42">
                  <c:v>45323</c:v>
                </c:pt>
                <c:pt idx="43">
                  <c:v>45352</c:v>
                </c:pt>
                <c:pt idx="44">
                  <c:v>45383</c:v>
                </c:pt>
                <c:pt idx="45">
                  <c:v>45413</c:v>
                </c:pt>
                <c:pt idx="46">
                  <c:v>45444</c:v>
                </c:pt>
                <c:pt idx="47">
                  <c:v>45474</c:v>
                </c:pt>
              </c:numCache>
            </c:numRef>
          </c:xVal>
          <c:yVal>
            <c:numRef>
              <c:f>Sheet3!$C$81:$AX$81</c:f>
              <c:numCache>
                <c:formatCode>_("$"* #,##0.00_);_("$"* \(#,##0.00\);_("$"* "-"??_);_(@_)</c:formatCode>
                <c:ptCount val="48"/>
                <c:pt idx="0">
                  <c:v>679822.18999999948</c:v>
                </c:pt>
                <c:pt idx="1">
                  <c:v>665698.2999999997</c:v>
                </c:pt>
                <c:pt idx="2">
                  <c:v>733842</c:v>
                </c:pt>
                <c:pt idx="3">
                  <c:v>740517.47999999963</c:v>
                </c:pt>
                <c:pt idx="4">
                  <c:v>719583.65000000317</c:v>
                </c:pt>
                <c:pt idx="5">
                  <c:v>899208.86999999394</c:v>
                </c:pt>
                <c:pt idx="6">
                  <c:v>681706.25999999978</c:v>
                </c:pt>
                <c:pt idx="7">
                  <c:v>718339.24000000022</c:v>
                </c:pt>
                <c:pt idx="8">
                  <c:v>639140.93000000133</c:v>
                </c:pt>
                <c:pt idx="9">
                  <c:v>609004.51999999979</c:v>
                </c:pt>
                <c:pt idx="10">
                  <c:v>551066.70000000007</c:v>
                </c:pt>
                <c:pt idx="11">
                  <c:v>493892.41999999981</c:v>
                </c:pt>
                <c:pt idx="12">
                  <c:v>477563.89999999903</c:v>
                </c:pt>
                <c:pt idx="13">
                  <c:v>466792.5299999998</c:v>
                </c:pt>
                <c:pt idx="14">
                  <c:v>517808.27000000025</c:v>
                </c:pt>
                <c:pt idx="15">
                  <c:v>572434.60999999952</c:v>
                </c:pt>
                <c:pt idx="16">
                  <c:v>820927.02999999945</c:v>
                </c:pt>
                <c:pt idx="17">
                  <c:v>717345.3899999999</c:v>
                </c:pt>
                <c:pt idx="18">
                  <c:v>658976.5700000003</c:v>
                </c:pt>
                <c:pt idx="19">
                  <c:v>743146.50000000105</c:v>
                </c:pt>
                <c:pt idx="20">
                  <c:v>834350.21000000031</c:v>
                </c:pt>
                <c:pt idx="21">
                  <c:v>897642.83000000345</c:v>
                </c:pt>
                <c:pt idx="22">
                  <c:v>843033.60000000102</c:v>
                </c:pt>
                <c:pt idx="23">
                  <c:v>930979.99000000011</c:v>
                </c:pt>
                <c:pt idx="24">
                  <c:v>1140357.2300000002</c:v>
                </c:pt>
                <c:pt idx="25">
                  <c:v>1636807.1899999983</c:v>
                </c:pt>
                <c:pt idx="26">
                  <c:v>1310568.0399999991</c:v>
                </c:pt>
                <c:pt idx="27">
                  <c:v>1210261.0799999991</c:v>
                </c:pt>
                <c:pt idx="28">
                  <c:v>1738300.8</c:v>
                </c:pt>
                <c:pt idx="29">
                  <c:v>1458023.04</c:v>
                </c:pt>
                <c:pt idx="30">
                  <c:v>1348691.3299999996</c:v>
                </c:pt>
                <c:pt idx="31">
                  <c:v>1381928.0099999956</c:v>
                </c:pt>
                <c:pt idx="32">
                  <c:v>1357513.0500000028</c:v>
                </c:pt>
                <c:pt idx="33">
                  <c:v>1632320.9699999969</c:v>
                </c:pt>
                <c:pt idx="34">
                  <c:v>1700100.9399999853</c:v>
                </c:pt>
                <c:pt idx="35">
                  <c:v>1544454.3699999985</c:v>
                </c:pt>
                <c:pt idx="36">
                  <c:v>1581269.6200000006</c:v>
                </c:pt>
                <c:pt idx="37">
                  <c:v>1485449.5499999996</c:v>
                </c:pt>
                <c:pt idx="38">
                  <c:v>1531045.6000000008</c:v>
                </c:pt>
                <c:pt idx="39">
                  <c:v>1642836.3700000003</c:v>
                </c:pt>
                <c:pt idx="40">
                  <c:v>1515490.1400000025</c:v>
                </c:pt>
                <c:pt idx="41">
                  <c:v>1587974.8300000043</c:v>
                </c:pt>
                <c:pt idx="42">
                  <c:v>1579372.0399999942</c:v>
                </c:pt>
                <c:pt idx="43">
                  <c:v>1515972.3200000005</c:v>
                </c:pt>
                <c:pt idx="44">
                  <c:v>1613134.4999999912</c:v>
                </c:pt>
                <c:pt idx="45">
                  <c:v>1284812.7999999968</c:v>
                </c:pt>
                <c:pt idx="46">
                  <c:v>1361283.5300000035</c:v>
                </c:pt>
                <c:pt idx="47">
                  <c:v>1234087.36999999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437-46C9-95A7-304E9CD41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36819711"/>
        <c:axId val="1136817791"/>
      </c:scatterChart>
      <c:valAx>
        <c:axId val="113681971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6817791"/>
        <c:crosses val="autoZero"/>
        <c:crossBetween val="midCat"/>
      </c:valAx>
      <c:valAx>
        <c:axId val="1136817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681971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Dialed</a:t>
            </a:r>
            <a:r>
              <a:rPr lang="en-US" baseline="0"/>
              <a:t> In Average Visits per Day by Typ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6!$D$4:$D$7</c:f>
              <c:strCache>
                <c:ptCount val="4"/>
                <c:pt idx="0">
                  <c:v>Variance to Forecast</c:v>
                </c:pt>
                <c:pt idx="1">
                  <c:v>Risk Visit </c:v>
                </c:pt>
                <c:pt idx="2">
                  <c:v>Guage </c:v>
                </c:pt>
                <c:pt idx="3">
                  <c:v>Liquid Transpor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BFB-4E8C-9F1F-FBF54093C3A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BFB-4E8C-9F1F-FBF54093C3A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BFB-4E8C-9F1F-FBF54093C3A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FB-4E8C-9F1F-FBF54093C3A4}"/>
              </c:ext>
            </c:extLst>
          </c:dPt>
          <c:dLbls>
            <c:dLbl>
              <c:idx val="0"/>
              <c:layout>
                <c:manualLayout>
                  <c:x val="-0.11781353893263342"/>
                  <c:y val="8.529819189268007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BFB-4E8C-9F1F-FBF54093C3A4}"/>
                </c:ext>
              </c:extLst>
            </c:dLbl>
            <c:dLbl>
              <c:idx val="1"/>
              <c:layout>
                <c:manualLayout>
                  <c:x val="-1.8357939632545933E-2"/>
                  <c:y val="-0.1401585739282588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BFB-4E8C-9F1F-FBF54093C3A4}"/>
                </c:ext>
              </c:extLst>
            </c:dLbl>
            <c:dLbl>
              <c:idx val="2"/>
              <c:layout>
                <c:manualLayout>
                  <c:x val="0.1118008530183727"/>
                  <c:y val="-1.07761009040536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BFB-4E8C-9F1F-FBF54093C3A4}"/>
                </c:ext>
              </c:extLst>
            </c:dLbl>
            <c:dLbl>
              <c:idx val="3"/>
              <c:layout>
                <c:manualLayout>
                  <c:x val="6.291021434820647E-2"/>
                  <c:y val="0.10276027996500438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BFB-4E8C-9F1F-FBF54093C3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6!$D$4:$D$7</c:f>
              <c:strCache>
                <c:ptCount val="4"/>
                <c:pt idx="0">
                  <c:v>Variance to Forecast</c:v>
                </c:pt>
                <c:pt idx="1">
                  <c:v>Risk Visit </c:v>
                </c:pt>
                <c:pt idx="2">
                  <c:v>Guage </c:v>
                </c:pt>
                <c:pt idx="3">
                  <c:v>Liquid Transport</c:v>
                </c:pt>
              </c:strCache>
            </c:strRef>
          </c:cat>
          <c:val>
            <c:numRef>
              <c:f>Sheet6!$E$4:$E$7</c:f>
              <c:numCache>
                <c:formatCode>General</c:formatCode>
                <c:ptCount val="4"/>
                <c:pt idx="0">
                  <c:v>210</c:v>
                </c:pt>
                <c:pt idx="1">
                  <c:v>107</c:v>
                </c:pt>
                <c:pt idx="2">
                  <c:v>170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FB-4E8C-9F1F-FBF54093C3A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WAB FCF</a:t>
            </a:r>
            <a:r>
              <a:rPr lang="en-US" b="1" baseline="0"/>
              <a:t> by Route Distribution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urrent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urrent WAB Distribution'!$Z$4:$Z$17</c:f>
              <c:strCache>
                <c:ptCount val="14"/>
                <c:pt idx="0">
                  <c:v>Less than 1MM</c:v>
                </c:pt>
                <c:pt idx="1">
                  <c:v>1MM - 2MM</c:v>
                </c:pt>
                <c:pt idx="2">
                  <c:v>2MM - 3MM</c:v>
                </c:pt>
                <c:pt idx="3">
                  <c:v>3MM - 4MM</c:v>
                </c:pt>
                <c:pt idx="4">
                  <c:v>4MM - 5MM</c:v>
                </c:pt>
                <c:pt idx="5">
                  <c:v>5MM - 6MM</c:v>
                </c:pt>
                <c:pt idx="6">
                  <c:v>6MM - 7MM</c:v>
                </c:pt>
                <c:pt idx="7">
                  <c:v>7MM - 8MM</c:v>
                </c:pt>
                <c:pt idx="8">
                  <c:v>8MM - 9MM</c:v>
                </c:pt>
                <c:pt idx="9">
                  <c:v>9MM - 10MM</c:v>
                </c:pt>
                <c:pt idx="10">
                  <c:v>10MM - 11MM</c:v>
                </c:pt>
                <c:pt idx="11">
                  <c:v>11MM - 12MM</c:v>
                </c:pt>
                <c:pt idx="12">
                  <c:v>12MM - 13MM</c:v>
                </c:pt>
                <c:pt idx="13">
                  <c:v>13MM+</c:v>
                </c:pt>
              </c:strCache>
            </c:strRef>
          </c:cat>
          <c:val>
            <c:numRef>
              <c:f>'Current WAB Distribution'!$AB$4:$AB$16</c:f>
              <c:numCache>
                <c:formatCode>General</c:formatCode>
                <c:ptCount val="13"/>
                <c:pt idx="0">
                  <c:v>1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4</c:v>
                </c:pt>
                <c:pt idx="5">
                  <c:v>3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2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F8-4A8A-A21B-D1B9BF2DB32C}"/>
            </c:ext>
          </c:extLst>
        </c:ser>
        <c:ser>
          <c:idx val="1"/>
          <c:order val="1"/>
          <c:tx>
            <c:v>Proposed Option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Current WAB Distribution'!$Z$4:$Z$17</c:f>
              <c:strCache>
                <c:ptCount val="14"/>
                <c:pt idx="0">
                  <c:v>Less than 1MM</c:v>
                </c:pt>
                <c:pt idx="1">
                  <c:v>1MM - 2MM</c:v>
                </c:pt>
                <c:pt idx="2">
                  <c:v>2MM - 3MM</c:v>
                </c:pt>
                <c:pt idx="3">
                  <c:v>3MM - 4MM</c:v>
                </c:pt>
                <c:pt idx="4">
                  <c:v>4MM - 5MM</c:v>
                </c:pt>
                <c:pt idx="5">
                  <c:v>5MM - 6MM</c:v>
                </c:pt>
                <c:pt idx="6">
                  <c:v>6MM - 7MM</c:v>
                </c:pt>
                <c:pt idx="7">
                  <c:v>7MM - 8MM</c:v>
                </c:pt>
                <c:pt idx="8">
                  <c:v>8MM - 9MM</c:v>
                </c:pt>
                <c:pt idx="9">
                  <c:v>9MM - 10MM</c:v>
                </c:pt>
                <c:pt idx="10">
                  <c:v>10MM - 11MM</c:v>
                </c:pt>
                <c:pt idx="11">
                  <c:v>11MM - 12MM</c:v>
                </c:pt>
                <c:pt idx="12">
                  <c:v>12MM - 13MM</c:v>
                </c:pt>
                <c:pt idx="13">
                  <c:v>13MM+</c:v>
                </c:pt>
              </c:strCache>
            </c:strRef>
          </c:cat>
          <c:val>
            <c:numRef>
              <c:f>'New PIVOT'!$J$4:$J$16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  <c:pt idx="6">
                  <c:v>3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F8-4A8A-A21B-D1B9BF2DB3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632768"/>
        <c:axId val="161617408"/>
      </c:barChart>
      <c:catAx>
        <c:axId val="161632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617408"/>
        <c:crosses val="autoZero"/>
        <c:auto val="1"/>
        <c:lblAlgn val="ctr"/>
        <c:lblOffset val="100"/>
        <c:noMultiLvlLbl val="0"/>
      </c:catAx>
      <c:valAx>
        <c:axId val="161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632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CF vs. Active</a:t>
            </a:r>
            <a:r>
              <a:rPr lang="en-US" baseline="0"/>
              <a:t> Well Coun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Proposed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New PIVOT'!$C$3:$C$19</c:f>
              <c:numCache>
                <c:formatCode>_("$"* #,##0.00_);_("$"* \(#,##0.00\);_("$"* "-"??_);_(@_)</c:formatCode>
                <c:ptCount val="17"/>
                <c:pt idx="0">
                  <c:v>11419083.090000002</c:v>
                </c:pt>
                <c:pt idx="1">
                  <c:v>9584720.3700000048</c:v>
                </c:pt>
                <c:pt idx="2">
                  <c:v>12813845.990000006</c:v>
                </c:pt>
                <c:pt idx="3">
                  <c:v>9295294.6000000034</c:v>
                </c:pt>
                <c:pt idx="4">
                  <c:v>10299673.450000001</c:v>
                </c:pt>
                <c:pt idx="5">
                  <c:v>7468507.8999999966</c:v>
                </c:pt>
                <c:pt idx="6">
                  <c:v>11232517.200000005</c:v>
                </c:pt>
                <c:pt idx="7">
                  <c:v>8427175.5099999979</c:v>
                </c:pt>
                <c:pt idx="8">
                  <c:v>8628819.3500000052</c:v>
                </c:pt>
                <c:pt idx="9">
                  <c:v>10153664.459999995</c:v>
                </c:pt>
                <c:pt idx="10">
                  <c:v>8891715.1600000001</c:v>
                </c:pt>
                <c:pt idx="11">
                  <c:v>9829810.450000003</c:v>
                </c:pt>
                <c:pt idx="12">
                  <c:v>6257349.5999999959</c:v>
                </c:pt>
                <c:pt idx="13">
                  <c:v>7389998.3500000015</c:v>
                </c:pt>
                <c:pt idx="14">
                  <c:v>8131528.2000000011</c:v>
                </c:pt>
                <c:pt idx="15">
                  <c:v>4198790.3999999985</c:v>
                </c:pt>
                <c:pt idx="16">
                  <c:v>7843743.5399999972</c:v>
                </c:pt>
              </c:numCache>
            </c:numRef>
          </c:xVal>
          <c:yVal>
            <c:numRef>
              <c:f>'New PIVOT'!$D$3:$D$19</c:f>
              <c:numCache>
                <c:formatCode>General</c:formatCode>
                <c:ptCount val="17"/>
                <c:pt idx="0">
                  <c:v>51</c:v>
                </c:pt>
                <c:pt idx="1">
                  <c:v>74</c:v>
                </c:pt>
                <c:pt idx="2">
                  <c:v>78</c:v>
                </c:pt>
                <c:pt idx="3">
                  <c:v>76</c:v>
                </c:pt>
                <c:pt idx="4">
                  <c:v>74</c:v>
                </c:pt>
                <c:pt idx="5">
                  <c:v>102</c:v>
                </c:pt>
                <c:pt idx="6">
                  <c:v>76</c:v>
                </c:pt>
                <c:pt idx="7">
                  <c:v>122</c:v>
                </c:pt>
                <c:pt idx="8">
                  <c:v>118</c:v>
                </c:pt>
                <c:pt idx="9">
                  <c:v>104</c:v>
                </c:pt>
                <c:pt idx="10">
                  <c:v>93</c:v>
                </c:pt>
                <c:pt idx="11">
                  <c:v>62</c:v>
                </c:pt>
                <c:pt idx="12">
                  <c:v>107</c:v>
                </c:pt>
                <c:pt idx="13">
                  <c:v>122</c:v>
                </c:pt>
                <c:pt idx="14">
                  <c:v>152</c:v>
                </c:pt>
                <c:pt idx="15">
                  <c:v>100</c:v>
                </c:pt>
                <c:pt idx="16">
                  <c:v>1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C2F-4113-B391-E039337D4F6F}"/>
            </c:ext>
          </c:extLst>
        </c:ser>
        <c:ser>
          <c:idx val="1"/>
          <c:order val="1"/>
          <c:tx>
            <c:v>Curren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Current WAB Distribution'!$E$3:$E$34</c:f>
              <c:numCache>
                <c:formatCode>#,##0</c:formatCode>
                <c:ptCount val="32"/>
                <c:pt idx="0">
                  <c:v>11419083.090000002</c:v>
                </c:pt>
                <c:pt idx="1">
                  <c:v>8126741.9500000048</c:v>
                </c:pt>
                <c:pt idx="2">
                  <c:v>9050652.0100000035</c:v>
                </c:pt>
                <c:pt idx="3">
                  <c:v>8248887.0200000014</c:v>
                </c:pt>
                <c:pt idx="4">
                  <c:v>6107502.0300000021</c:v>
                </c:pt>
                <c:pt idx="5">
                  <c:v>4192171.4199999995</c:v>
                </c:pt>
                <c:pt idx="6">
                  <c:v>3763193.9800000023</c:v>
                </c:pt>
                <c:pt idx="7">
                  <c:v>4309001.8699999982</c:v>
                </c:pt>
                <c:pt idx="8">
                  <c:v>1457978.419999999</c:v>
                </c:pt>
                <c:pt idx="9">
                  <c:v>11232517.200000005</c:v>
                </c:pt>
                <c:pt idx="10">
                  <c:v>5533331.8899999997</c:v>
                </c:pt>
                <c:pt idx="11">
                  <c:v>4357249.5500000035</c:v>
                </c:pt>
                <c:pt idx="12">
                  <c:v>4271569.8000000007</c:v>
                </c:pt>
                <c:pt idx="13">
                  <c:v>8174749.4799999958</c:v>
                </c:pt>
                <c:pt idx="14">
                  <c:v>5265691.3800000008</c:v>
                </c:pt>
                <c:pt idx="15">
                  <c:v>2893843.6199999992</c:v>
                </c:pt>
                <c:pt idx="16">
                  <c:v>3626023.7800000003</c:v>
                </c:pt>
                <c:pt idx="17">
                  <c:v>1978914.98</c:v>
                </c:pt>
                <c:pt idx="18">
                  <c:v>9829810.450000003</c:v>
                </c:pt>
                <c:pt idx="19">
                  <c:v>2851219.4599999953</c:v>
                </c:pt>
                <c:pt idx="20">
                  <c:v>3406130.1400000011</c:v>
                </c:pt>
                <c:pt idx="21">
                  <c:v>3177484.7800000007</c:v>
                </c:pt>
                <c:pt idx="22">
                  <c:v>3051942.26</c:v>
                </c:pt>
                <c:pt idx="23">
                  <c:v>1160571.3100000008</c:v>
                </c:pt>
                <c:pt idx="24">
                  <c:v>7322293.0700000022</c:v>
                </c:pt>
                <c:pt idx="25">
                  <c:v>2116605.9300000006</c:v>
                </c:pt>
                <c:pt idx="26">
                  <c:v>2082184.4699999979</c:v>
                </c:pt>
                <c:pt idx="27">
                  <c:v>2205262.4500000016</c:v>
                </c:pt>
                <c:pt idx="28">
                  <c:v>5638481.0899999952</c:v>
                </c:pt>
                <c:pt idx="29">
                  <c:v>3159506.0299999979</c:v>
                </c:pt>
                <c:pt idx="30">
                  <c:v>1046407.5800000019</c:v>
                </c:pt>
                <c:pt idx="31">
                  <c:v>809235.12999999942</c:v>
                </c:pt>
              </c:numCache>
            </c:numRef>
          </c:xVal>
          <c:yVal>
            <c:numRef>
              <c:f>'Current WAB Distribution'!$D$3:$D$34</c:f>
              <c:numCache>
                <c:formatCode>#,##0</c:formatCode>
                <c:ptCount val="32"/>
                <c:pt idx="0">
                  <c:v>51</c:v>
                </c:pt>
                <c:pt idx="1">
                  <c:v>46</c:v>
                </c:pt>
                <c:pt idx="2">
                  <c:v>40</c:v>
                </c:pt>
                <c:pt idx="3">
                  <c:v>31</c:v>
                </c:pt>
                <c:pt idx="4">
                  <c:v>30</c:v>
                </c:pt>
                <c:pt idx="5">
                  <c:v>44</c:v>
                </c:pt>
                <c:pt idx="6">
                  <c:v>38</c:v>
                </c:pt>
                <c:pt idx="7">
                  <c:v>40</c:v>
                </c:pt>
                <c:pt idx="8">
                  <c:v>28</c:v>
                </c:pt>
                <c:pt idx="9">
                  <c:v>76</c:v>
                </c:pt>
                <c:pt idx="10">
                  <c:v>59</c:v>
                </c:pt>
                <c:pt idx="11">
                  <c:v>58</c:v>
                </c:pt>
                <c:pt idx="12">
                  <c:v>60</c:v>
                </c:pt>
                <c:pt idx="13">
                  <c:v>61</c:v>
                </c:pt>
                <c:pt idx="14">
                  <c:v>59</c:v>
                </c:pt>
                <c:pt idx="15">
                  <c:v>63</c:v>
                </c:pt>
                <c:pt idx="16">
                  <c:v>34</c:v>
                </c:pt>
                <c:pt idx="17">
                  <c:v>43</c:v>
                </c:pt>
                <c:pt idx="18">
                  <c:v>62</c:v>
                </c:pt>
                <c:pt idx="19">
                  <c:v>60</c:v>
                </c:pt>
                <c:pt idx="20">
                  <c:v>47</c:v>
                </c:pt>
                <c:pt idx="21">
                  <c:v>28</c:v>
                </c:pt>
                <c:pt idx="22">
                  <c:v>47</c:v>
                </c:pt>
                <c:pt idx="23">
                  <c:v>47</c:v>
                </c:pt>
                <c:pt idx="24">
                  <c:v>74</c:v>
                </c:pt>
                <c:pt idx="25">
                  <c:v>49</c:v>
                </c:pt>
                <c:pt idx="26">
                  <c:v>51</c:v>
                </c:pt>
                <c:pt idx="27">
                  <c:v>69</c:v>
                </c:pt>
                <c:pt idx="28">
                  <c:v>61</c:v>
                </c:pt>
                <c:pt idx="29">
                  <c:v>62</c:v>
                </c:pt>
                <c:pt idx="30">
                  <c:v>45</c:v>
                </c:pt>
                <c:pt idx="31">
                  <c:v>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C2F-4113-B391-E039337D4F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7185823"/>
        <c:axId val="1457186303"/>
      </c:scatterChart>
      <c:valAx>
        <c:axId val="145718582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FCF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_);_(&quot;$&quot;* \(#,##0\);_(&quot;$&quot;* &quot;-&quot;_);_(@_)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86303"/>
        <c:crosses val="autoZero"/>
        <c:crossBetween val="midCat"/>
      </c:valAx>
      <c:valAx>
        <c:axId val="1457186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# Active Well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185823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832AFC-3F8E-4FC2-A2C2-34B65B63776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C988897-87B7-4517-9047-DFA7A88C38ED}">
      <dgm:prSet phldrT="[Text]" custT="1"/>
      <dgm:spPr>
        <a:solidFill>
          <a:schemeClr val="accent2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Foreman</a:t>
          </a:r>
        </a:p>
      </dgm:t>
    </dgm:pt>
    <dgm:pt modelId="{03D29BEB-8C5A-4A99-8BC3-76E4815FCD31}" type="parTrans" cxnId="{5F4F5848-CA66-4198-BFB3-A18515633384}">
      <dgm:prSet/>
      <dgm:spPr/>
      <dgm:t>
        <a:bodyPr/>
        <a:lstStyle/>
        <a:p>
          <a:endParaRPr lang="en-US" sz="1000"/>
        </a:p>
      </dgm:t>
    </dgm:pt>
    <dgm:pt modelId="{2436EC5A-ABCA-41EE-BECC-8BBE18E8256E}" type="sibTrans" cxnId="{5F4F5848-CA66-4198-BFB3-A18515633384}">
      <dgm:prSet/>
      <dgm:spPr/>
      <dgm:t>
        <a:bodyPr/>
        <a:lstStyle/>
        <a:p>
          <a:endParaRPr lang="en-US" sz="1000"/>
        </a:p>
      </dgm:t>
    </dgm:pt>
    <dgm:pt modelId="{CEFE54B5-1BF0-40D8-A238-41A7896496D8}">
      <dgm:prSet phldrT="[Text]" custT="1"/>
      <dgm:spPr>
        <a:solidFill>
          <a:schemeClr val="accent2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Foreman</a:t>
          </a:r>
        </a:p>
      </dgm:t>
    </dgm:pt>
    <dgm:pt modelId="{1FB87FED-6972-430F-AC0C-71746CE494E0}" type="parTrans" cxnId="{3F3DE9E9-BCE1-4553-AD2B-5D1514B648D0}">
      <dgm:prSet/>
      <dgm:spPr/>
      <dgm:t>
        <a:bodyPr/>
        <a:lstStyle/>
        <a:p>
          <a:endParaRPr lang="en-US" sz="1000"/>
        </a:p>
      </dgm:t>
    </dgm:pt>
    <dgm:pt modelId="{6561193A-D219-4269-B667-3F90A154D0FB}" type="sibTrans" cxnId="{3F3DE9E9-BCE1-4553-AD2B-5D1514B648D0}">
      <dgm:prSet/>
      <dgm:spPr/>
      <dgm:t>
        <a:bodyPr/>
        <a:lstStyle/>
        <a:p>
          <a:endParaRPr lang="en-US" sz="1000"/>
        </a:p>
      </dgm:t>
    </dgm:pt>
    <dgm:pt modelId="{5EEA353E-AFC6-4F20-8D77-AD8593576011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0A82C860-67E9-4924-9DCF-FC0CBD8C5010}" type="parTrans" cxnId="{C26A1C10-6734-4D51-8250-95D2086E8F98}">
      <dgm:prSet/>
      <dgm:spPr/>
      <dgm:t>
        <a:bodyPr/>
        <a:lstStyle/>
        <a:p>
          <a:endParaRPr lang="en-US" sz="1000"/>
        </a:p>
      </dgm:t>
    </dgm:pt>
    <dgm:pt modelId="{76204006-F138-4849-BD32-33E51A67180B}" type="sibTrans" cxnId="{C26A1C10-6734-4D51-8250-95D2086E8F98}">
      <dgm:prSet/>
      <dgm:spPr/>
      <dgm:t>
        <a:bodyPr/>
        <a:lstStyle/>
        <a:p>
          <a:endParaRPr lang="en-US" sz="1000"/>
        </a:p>
      </dgm:t>
    </dgm:pt>
    <dgm:pt modelId="{13E6143E-3AE3-4A1E-A16D-C96A8323BDC6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CDC32E48-8470-4047-9C56-5574FF1AE61B}" type="parTrans" cxnId="{97AE87FF-7BA1-4E1E-BACC-821DEC3E9501}">
      <dgm:prSet/>
      <dgm:spPr/>
      <dgm:t>
        <a:bodyPr/>
        <a:lstStyle/>
        <a:p>
          <a:endParaRPr lang="en-US" sz="1000"/>
        </a:p>
      </dgm:t>
    </dgm:pt>
    <dgm:pt modelId="{3989C149-0CD7-479A-A0B6-E6DAD0A57E2C}" type="sibTrans" cxnId="{97AE87FF-7BA1-4E1E-BACC-821DEC3E9501}">
      <dgm:prSet/>
      <dgm:spPr/>
      <dgm:t>
        <a:bodyPr/>
        <a:lstStyle/>
        <a:p>
          <a:endParaRPr lang="en-US" sz="1000"/>
        </a:p>
      </dgm:t>
    </dgm:pt>
    <dgm:pt modelId="{BEC94471-A240-436D-A246-F2E4CBD2830E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EDDC8BBC-3074-4EF4-B00B-26662A4D0006}" type="parTrans" cxnId="{C1408012-C21A-4D4F-993D-9BC46D1F7099}">
      <dgm:prSet/>
      <dgm:spPr/>
      <dgm:t>
        <a:bodyPr/>
        <a:lstStyle/>
        <a:p>
          <a:endParaRPr lang="en-US" sz="1000"/>
        </a:p>
      </dgm:t>
    </dgm:pt>
    <dgm:pt modelId="{D1AF9D87-F41C-4F02-8D79-59C384796391}" type="sibTrans" cxnId="{C1408012-C21A-4D4F-993D-9BC46D1F7099}">
      <dgm:prSet/>
      <dgm:spPr/>
      <dgm:t>
        <a:bodyPr/>
        <a:lstStyle/>
        <a:p>
          <a:endParaRPr lang="en-US" sz="1000"/>
        </a:p>
      </dgm:t>
    </dgm:pt>
    <dgm:pt modelId="{2AB31F72-6288-44D2-8072-2F3E8CA5E8E6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F7DB04EC-4168-4743-9845-F6C1C690AAAC}" type="parTrans" cxnId="{E20F80F6-2CD3-42B5-9910-7D14EF778F5E}">
      <dgm:prSet/>
      <dgm:spPr/>
      <dgm:t>
        <a:bodyPr/>
        <a:lstStyle/>
        <a:p>
          <a:endParaRPr lang="en-US" sz="1000"/>
        </a:p>
      </dgm:t>
    </dgm:pt>
    <dgm:pt modelId="{93F5CAB4-2AB7-4A78-A535-D6B3D24DA627}" type="sibTrans" cxnId="{E20F80F6-2CD3-42B5-9910-7D14EF778F5E}">
      <dgm:prSet/>
      <dgm:spPr/>
      <dgm:t>
        <a:bodyPr/>
        <a:lstStyle/>
        <a:p>
          <a:endParaRPr lang="en-US" sz="1000"/>
        </a:p>
      </dgm:t>
    </dgm:pt>
    <dgm:pt modelId="{6FDAC7CE-C7EF-40C3-B712-A3202A457CEF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8987B43F-EE7D-4124-AB48-46F3316BE98E}" type="parTrans" cxnId="{BE1B924B-0C7F-4620-8B51-F57172EA1806}">
      <dgm:prSet/>
      <dgm:spPr/>
      <dgm:t>
        <a:bodyPr/>
        <a:lstStyle/>
        <a:p>
          <a:endParaRPr lang="en-US" sz="1000"/>
        </a:p>
      </dgm:t>
    </dgm:pt>
    <dgm:pt modelId="{645F58BC-DE26-4E21-BAF6-DA0D82F55B8A}" type="sibTrans" cxnId="{BE1B924B-0C7F-4620-8B51-F57172EA1806}">
      <dgm:prSet/>
      <dgm:spPr/>
      <dgm:t>
        <a:bodyPr/>
        <a:lstStyle/>
        <a:p>
          <a:endParaRPr lang="en-US" sz="1000"/>
        </a:p>
      </dgm:t>
    </dgm:pt>
    <dgm:pt modelId="{C8DBDEE6-FC39-4EAC-9FE5-3F58BA91234D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F39F50FA-EEE3-4D7A-8C4B-320B85211430}" type="parTrans" cxnId="{3C986995-76F4-4DB1-B6C5-DF1068BA7E44}">
      <dgm:prSet/>
      <dgm:spPr/>
      <dgm:t>
        <a:bodyPr/>
        <a:lstStyle/>
        <a:p>
          <a:endParaRPr lang="en-US" sz="1000"/>
        </a:p>
      </dgm:t>
    </dgm:pt>
    <dgm:pt modelId="{11858CF6-7F77-48B3-AFAA-6DF7453AF8F1}" type="sibTrans" cxnId="{3C986995-76F4-4DB1-B6C5-DF1068BA7E44}">
      <dgm:prSet/>
      <dgm:spPr/>
      <dgm:t>
        <a:bodyPr/>
        <a:lstStyle/>
        <a:p>
          <a:endParaRPr lang="en-US" sz="1000"/>
        </a:p>
      </dgm:t>
    </dgm:pt>
    <dgm:pt modelId="{039FA459-9C06-468E-B1F7-E5A82D5411B4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62D16580-86F9-40F0-867C-B38652B85398}" type="parTrans" cxnId="{C6C7A5B0-F44B-41BD-9D5D-F2F76FD1E08D}">
      <dgm:prSet/>
      <dgm:spPr/>
      <dgm:t>
        <a:bodyPr/>
        <a:lstStyle/>
        <a:p>
          <a:endParaRPr lang="en-US" sz="1000"/>
        </a:p>
      </dgm:t>
    </dgm:pt>
    <dgm:pt modelId="{F54622C5-0363-4600-8D38-21A33EE77957}" type="sibTrans" cxnId="{C6C7A5B0-F44B-41BD-9D5D-F2F76FD1E08D}">
      <dgm:prSet/>
      <dgm:spPr/>
      <dgm:t>
        <a:bodyPr/>
        <a:lstStyle/>
        <a:p>
          <a:endParaRPr lang="en-US" sz="1000"/>
        </a:p>
      </dgm:t>
    </dgm:pt>
    <dgm:pt modelId="{E557E23E-C3E6-42E2-868F-877B1D8E73CB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FAF273E8-FB9C-4474-92C9-A0CDE5FEDDC1}" type="parTrans" cxnId="{CC99BC72-6785-4C86-95FD-29DF5063F994}">
      <dgm:prSet/>
      <dgm:spPr/>
      <dgm:t>
        <a:bodyPr/>
        <a:lstStyle/>
        <a:p>
          <a:endParaRPr lang="en-US" sz="1000"/>
        </a:p>
      </dgm:t>
    </dgm:pt>
    <dgm:pt modelId="{91839324-1A32-42DB-82F4-5BC2D4910982}" type="sibTrans" cxnId="{CC99BC72-6785-4C86-95FD-29DF5063F994}">
      <dgm:prSet/>
      <dgm:spPr/>
      <dgm:t>
        <a:bodyPr/>
        <a:lstStyle/>
        <a:p>
          <a:endParaRPr lang="en-US" sz="1000"/>
        </a:p>
      </dgm:t>
    </dgm:pt>
    <dgm:pt modelId="{97751B3B-AFD0-4B86-8DBD-7987C92C6E32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83BD93D6-7A0E-4A44-AB13-3EF7F617E4A6}" type="parTrans" cxnId="{CE4E22D1-3EE0-4F09-82A0-0CD5785AECDF}">
      <dgm:prSet/>
      <dgm:spPr/>
      <dgm:t>
        <a:bodyPr/>
        <a:lstStyle/>
        <a:p>
          <a:endParaRPr lang="en-US" sz="1000"/>
        </a:p>
      </dgm:t>
    </dgm:pt>
    <dgm:pt modelId="{CCD94597-4420-41FE-95DA-62E7EBB26D85}" type="sibTrans" cxnId="{CE4E22D1-3EE0-4F09-82A0-0CD5785AECDF}">
      <dgm:prSet/>
      <dgm:spPr/>
      <dgm:t>
        <a:bodyPr/>
        <a:lstStyle/>
        <a:p>
          <a:endParaRPr lang="en-US" sz="1000"/>
        </a:p>
      </dgm:t>
    </dgm:pt>
    <dgm:pt modelId="{4D793E25-9924-492C-B00A-32F155E6050A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30F82C44-F97D-491F-8381-068EEDDCD21B}" type="parTrans" cxnId="{8D152BD1-C15E-4D92-A975-73CBD6E4487F}">
      <dgm:prSet/>
      <dgm:spPr/>
      <dgm:t>
        <a:bodyPr/>
        <a:lstStyle/>
        <a:p>
          <a:endParaRPr lang="en-US" sz="1000"/>
        </a:p>
      </dgm:t>
    </dgm:pt>
    <dgm:pt modelId="{FF3265DF-C755-46E3-B9BC-B845D9BAEC0A}" type="sibTrans" cxnId="{8D152BD1-C15E-4D92-A975-73CBD6E4487F}">
      <dgm:prSet/>
      <dgm:spPr/>
      <dgm:t>
        <a:bodyPr/>
        <a:lstStyle/>
        <a:p>
          <a:endParaRPr lang="en-US" sz="1000"/>
        </a:p>
      </dgm:t>
    </dgm:pt>
    <dgm:pt modelId="{761A1E22-8C8A-4152-B1C8-4F9F35F000B9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D1805DA1-904F-4B00-AF8A-FF206D51C6A2}" type="parTrans" cxnId="{6E4C3C9B-13CB-4D1E-91E9-A66904E6DEB5}">
      <dgm:prSet/>
      <dgm:spPr/>
      <dgm:t>
        <a:bodyPr/>
        <a:lstStyle/>
        <a:p>
          <a:endParaRPr lang="en-US" sz="1000"/>
        </a:p>
      </dgm:t>
    </dgm:pt>
    <dgm:pt modelId="{E093EFA0-7F0F-40F5-A5A5-B7265D03F82F}" type="sibTrans" cxnId="{6E4C3C9B-13CB-4D1E-91E9-A66904E6DEB5}">
      <dgm:prSet/>
      <dgm:spPr/>
      <dgm:t>
        <a:bodyPr/>
        <a:lstStyle/>
        <a:p>
          <a:endParaRPr lang="en-US" sz="1000"/>
        </a:p>
      </dgm:t>
    </dgm:pt>
    <dgm:pt modelId="{25EF0883-7505-481B-9361-6A17544145A1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0CF47565-496B-452B-A332-F8123452058B}" type="parTrans" cxnId="{1D9C0DA6-A66C-4896-BD02-0B3148810FCA}">
      <dgm:prSet/>
      <dgm:spPr/>
      <dgm:t>
        <a:bodyPr/>
        <a:lstStyle/>
        <a:p>
          <a:endParaRPr lang="en-US" sz="1000"/>
        </a:p>
      </dgm:t>
    </dgm:pt>
    <dgm:pt modelId="{4C8A066E-D124-4071-B943-8BCE9C106578}" type="sibTrans" cxnId="{1D9C0DA6-A66C-4896-BD02-0B3148810FCA}">
      <dgm:prSet/>
      <dgm:spPr/>
      <dgm:t>
        <a:bodyPr/>
        <a:lstStyle/>
        <a:p>
          <a:endParaRPr lang="en-US" sz="1000"/>
        </a:p>
      </dgm:t>
    </dgm:pt>
    <dgm:pt modelId="{A7195517-ECE8-4D75-B284-DD7FC3A1C483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3A71DE44-A883-452F-BD5C-5C1232AFF38F}" type="parTrans" cxnId="{C1FB86D0-3301-414C-8D9D-1DB236A0CA01}">
      <dgm:prSet/>
      <dgm:spPr/>
      <dgm:t>
        <a:bodyPr/>
        <a:lstStyle/>
        <a:p>
          <a:endParaRPr lang="en-US" sz="1000"/>
        </a:p>
      </dgm:t>
    </dgm:pt>
    <dgm:pt modelId="{B03912AA-9EC5-4CF4-8842-A978F5471BA2}" type="sibTrans" cxnId="{C1FB86D0-3301-414C-8D9D-1DB236A0CA01}">
      <dgm:prSet/>
      <dgm:spPr/>
      <dgm:t>
        <a:bodyPr/>
        <a:lstStyle/>
        <a:p>
          <a:endParaRPr lang="en-US" sz="1000"/>
        </a:p>
      </dgm:t>
    </dgm:pt>
    <dgm:pt modelId="{6E006925-3003-4720-8633-AD5D2DB96A2A}" type="asst">
      <dgm:prSet phldrT="[Text]" custT="1"/>
      <dgm:spPr>
        <a:solidFill>
          <a:schemeClr val="accent2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b="0" dirty="0">
              <a:solidFill>
                <a:schemeClr val="bg1"/>
              </a:solidFill>
            </a:rPr>
            <a:t>Super</a:t>
          </a:r>
        </a:p>
      </dgm:t>
    </dgm:pt>
    <dgm:pt modelId="{3B55E5E6-48FD-4015-BF60-694348163B1F}" type="sibTrans" cxnId="{DB743CF3-49FF-44F2-AD08-3D2C02B7EC98}">
      <dgm:prSet/>
      <dgm:spPr/>
      <dgm:t>
        <a:bodyPr/>
        <a:lstStyle/>
        <a:p>
          <a:endParaRPr lang="en-US" sz="1000"/>
        </a:p>
      </dgm:t>
    </dgm:pt>
    <dgm:pt modelId="{EE21B19B-79F6-4D43-9A5B-C3CB30C837EB}" type="parTrans" cxnId="{DB743CF3-49FF-44F2-AD08-3D2C02B7EC98}">
      <dgm:prSet/>
      <dgm:spPr/>
      <dgm:t>
        <a:bodyPr/>
        <a:lstStyle/>
        <a:p>
          <a:endParaRPr lang="en-US" sz="1000"/>
        </a:p>
      </dgm:t>
    </dgm:pt>
    <dgm:pt modelId="{1CC0987F-94C0-4CA1-9C1E-E5D65D9D35F5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Operations Lead</a:t>
          </a:r>
        </a:p>
      </dgm:t>
    </dgm:pt>
    <dgm:pt modelId="{FDD59A98-5413-4434-8DC1-7DF4B1D9C928}" type="parTrans" cxnId="{C527CBD1-8122-4A6B-A5A5-5CA46E020A6C}">
      <dgm:prSet/>
      <dgm:spPr/>
      <dgm:t>
        <a:bodyPr/>
        <a:lstStyle/>
        <a:p>
          <a:endParaRPr lang="en-US" sz="1000"/>
        </a:p>
      </dgm:t>
    </dgm:pt>
    <dgm:pt modelId="{6C879D9C-8CA7-4280-8B3A-AF6856C8A1A4}" type="sibTrans" cxnId="{C527CBD1-8122-4A6B-A5A5-5CA46E020A6C}">
      <dgm:prSet/>
      <dgm:spPr/>
      <dgm:t>
        <a:bodyPr/>
        <a:lstStyle/>
        <a:p>
          <a:endParaRPr lang="en-US" sz="1000"/>
        </a:p>
      </dgm:t>
    </dgm:pt>
    <dgm:pt modelId="{82AAA354-A7CE-4AB1-99AB-2B651718BBA4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Operations Lead</a:t>
          </a:r>
        </a:p>
      </dgm:t>
    </dgm:pt>
    <dgm:pt modelId="{3D973D13-7791-456C-B9BE-CDB53C40AD0D}" type="parTrans" cxnId="{69C047DD-2A64-42FE-B63F-1D6685C596A7}">
      <dgm:prSet/>
      <dgm:spPr/>
      <dgm:t>
        <a:bodyPr/>
        <a:lstStyle/>
        <a:p>
          <a:endParaRPr lang="en-US" sz="1000"/>
        </a:p>
      </dgm:t>
    </dgm:pt>
    <dgm:pt modelId="{86D78BF2-5602-4D82-8179-A3BEDE65EE3C}" type="sibTrans" cxnId="{69C047DD-2A64-42FE-B63F-1D6685C596A7}">
      <dgm:prSet/>
      <dgm:spPr/>
      <dgm:t>
        <a:bodyPr/>
        <a:lstStyle/>
        <a:p>
          <a:endParaRPr lang="en-US" sz="1000"/>
        </a:p>
      </dgm:t>
    </dgm:pt>
    <dgm:pt modelId="{A3FC52F2-F011-4737-8EB4-60558773279B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Operations Lead</a:t>
          </a:r>
        </a:p>
      </dgm:t>
    </dgm:pt>
    <dgm:pt modelId="{C3907856-EB3C-408D-9DFE-CF514D31CB1C}" type="parTrans" cxnId="{7D0E90ED-8B8C-499A-8B8E-B85DEA5ADCB5}">
      <dgm:prSet/>
      <dgm:spPr/>
      <dgm:t>
        <a:bodyPr/>
        <a:lstStyle/>
        <a:p>
          <a:endParaRPr lang="en-US" sz="1000"/>
        </a:p>
      </dgm:t>
    </dgm:pt>
    <dgm:pt modelId="{52C7C134-FE0C-4547-BD91-D4F8ED58C399}" type="sibTrans" cxnId="{7D0E90ED-8B8C-499A-8B8E-B85DEA5ADCB5}">
      <dgm:prSet/>
      <dgm:spPr/>
      <dgm:t>
        <a:bodyPr/>
        <a:lstStyle/>
        <a:p>
          <a:endParaRPr lang="en-US" sz="1000"/>
        </a:p>
      </dgm:t>
    </dgm:pt>
    <dgm:pt modelId="{540C2E9F-1889-4B78-8850-A2214620AEC2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000"/>
            <a:t>Operations Lead</a:t>
          </a:r>
          <a:endParaRPr lang="en-US" sz="1000" dirty="0"/>
        </a:p>
      </dgm:t>
    </dgm:pt>
    <dgm:pt modelId="{C87D7B44-38B7-49BA-A29A-8B31970D16E2}" type="parTrans" cxnId="{7A773689-1A15-4093-8376-572A6B714BCA}">
      <dgm:prSet/>
      <dgm:spPr/>
      <dgm:t>
        <a:bodyPr/>
        <a:lstStyle/>
        <a:p>
          <a:endParaRPr lang="en-US" sz="1000"/>
        </a:p>
      </dgm:t>
    </dgm:pt>
    <dgm:pt modelId="{9D65047B-33A3-42DA-B933-6B66C2050868}" type="sibTrans" cxnId="{7A773689-1A15-4093-8376-572A6B714BCA}">
      <dgm:prSet/>
      <dgm:spPr/>
      <dgm:t>
        <a:bodyPr/>
        <a:lstStyle/>
        <a:p>
          <a:endParaRPr lang="en-US" sz="1000"/>
        </a:p>
      </dgm:t>
    </dgm:pt>
    <dgm:pt modelId="{42048756-FBAC-4696-8F89-CC6248B7085F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9DF2303F-F99E-4326-AF63-497F712471BA}" type="parTrans" cxnId="{E8010A7D-306C-4545-9997-F26C6FF2A141}">
      <dgm:prSet/>
      <dgm:spPr/>
      <dgm:t>
        <a:bodyPr/>
        <a:lstStyle/>
        <a:p>
          <a:endParaRPr lang="en-US" sz="1000"/>
        </a:p>
      </dgm:t>
    </dgm:pt>
    <dgm:pt modelId="{8D758232-EB6B-4488-9CBD-55A2B6B5E47E}" type="sibTrans" cxnId="{E8010A7D-306C-4545-9997-F26C6FF2A141}">
      <dgm:prSet/>
      <dgm:spPr/>
      <dgm:t>
        <a:bodyPr/>
        <a:lstStyle/>
        <a:p>
          <a:endParaRPr lang="en-US" sz="1000"/>
        </a:p>
      </dgm:t>
    </dgm:pt>
    <dgm:pt modelId="{A4F8D06E-6868-4605-9CA8-D5DBE8552438}">
      <dgm:prSet phldrT="[Text]" custT="1"/>
      <dgm:spPr>
        <a:solidFill>
          <a:srgbClr val="00B0F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/>
            <a:t>Sr. Lease Operator</a:t>
          </a:r>
        </a:p>
      </dgm:t>
    </dgm:pt>
    <dgm:pt modelId="{614AE487-CB22-4019-B44A-968EBE925A3A}" type="parTrans" cxnId="{050ECB40-F8AC-4DDA-AF2B-FB5997611B82}">
      <dgm:prSet/>
      <dgm:spPr/>
      <dgm:t>
        <a:bodyPr/>
        <a:lstStyle/>
        <a:p>
          <a:endParaRPr lang="en-US" sz="1000"/>
        </a:p>
      </dgm:t>
    </dgm:pt>
    <dgm:pt modelId="{B128AEA2-D0AE-47F7-8C48-91EB3C829B4C}" type="sibTrans" cxnId="{050ECB40-F8AC-4DDA-AF2B-FB5997611B82}">
      <dgm:prSet/>
      <dgm:spPr/>
      <dgm:t>
        <a:bodyPr/>
        <a:lstStyle/>
        <a:p>
          <a:endParaRPr lang="en-US" sz="1000"/>
        </a:p>
      </dgm:t>
    </dgm:pt>
    <dgm:pt modelId="{69B3BA99-19BE-4056-B447-B57A5D6EB800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5CF0E6F3-E44B-4DD5-91AD-9A16ADA6EF9D}" type="parTrans" cxnId="{4F0A6B24-9FF2-4130-9200-B89BBF924E3D}">
      <dgm:prSet/>
      <dgm:spPr/>
      <dgm:t>
        <a:bodyPr/>
        <a:lstStyle/>
        <a:p>
          <a:endParaRPr lang="en-US" sz="1000"/>
        </a:p>
      </dgm:t>
    </dgm:pt>
    <dgm:pt modelId="{325C5326-46D2-4F9C-8AC7-0FBDDD91CB2A}" type="sibTrans" cxnId="{4F0A6B24-9FF2-4130-9200-B89BBF924E3D}">
      <dgm:prSet/>
      <dgm:spPr/>
      <dgm:t>
        <a:bodyPr/>
        <a:lstStyle/>
        <a:p>
          <a:endParaRPr lang="en-US" sz="1000"/>
        </a:p>
      </dgm:t>
    </dgm:pt>
    <dgm:pt modelId="{7A84427C-3B15-4A06-B001-88E182CD7F3D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7F888869-3C7D-49EA-89F2-0844ADD737EA}" type="parTrans" cxnId="{E3CB64AF-1E40-4266-81CD-9D71152C8B38}">
      <dgm:prSet/>
      <dgm:spPr/>
      <dgm:t>
        <a:bodyPr/>
        <a:lstStyle/>
        <a:p>
          <a:endParaRPr lang="en-US" sz="1000"/>
        </a:p>
      </dgm:t>
    </dgm:pt>
    <dgm:pt modelId="{90930465-1D51-41AB-8617-64BFA21818EB}" type="sibTrans" cxnId="{E3CB64AF-1E40-4266-81CD-9D71152C8B38}">
      <dgm:prSet/>
      <dgm:spPr/>
      <dgm:t>
        <a:bodyPr/>
        <a:lstStyle/>
        <a:p>
          <a:endParaRPr lang="en-US" sz="1000"/>
        </a:p>
      </dgm:t>
    </dgm:pt>
    <dgm:pt modelId="{2237456A-7CAD-4BBB-8B75-8BA710CDB2DB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9F6D6DF3-BD86-4B79-B0EA-6229995A3CF6}" type="parTrans" cxnId="{52292BEE-21A6-4672-9F73-568305F0404F}">
      <dgm:prSet/>
      <dgm:spPr/>
      <dgm:t>
        <a:bodyPr/>
        <a:lstStyle/>
        <a:p>
          <a:endParaRPr lang="en-US" sz="1000"/>
        </a:p>
      </dgm:t>
    </dgm:pt>
    <dgm:pt modelId="{075A5533-0611-460C-A4FA-37B5F2B23AF1}" type="sibTrans" cxnId="{52292BEE-21A6-4672-9F73-568305F0404F}">
      <dgm:prSet/>
      <dgm:spPr/>
      <dgm:t>
        <a:bodyPr/>
        <a:lstStyle/>
        <a:p>
          <a:endParaRPr lang="en-US" sz="1000"/>
        </a:p>
      </dgm:t>
    </dgm:pt>
    <dgm:pt modelId="{F5DE6F64-4035-4C49-91ED-DBDC64A915A2}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Ops Center Manager</a:t>
          </a:r>
        </a:p>
      </dgm:t>
    </dgm:pt>
    <dgm:pt modelId="{BF5C762F-4D22-40BD-8AE4-E35CCF8A132F}" type="parTrans" cxnId="{A252C9D6-4E61-4691-81A7-556B2AFA1199}">
      <dgm:prSet/>
      <dgm:spPr/>
      <dgm:t>
        <a:bodyPr/>
        <a:lstStyle/>
        <a:p>
          <a:endParaRPr lang="en-US"/>
        </a:p>
      </dgm:t>
    </dgm:pt>
    <dgm:pt modelId="{B440C280-826B-45A0-9F2A-49CA8BA5DF85}" type="sibTrans" cxnId="{A252C9D6-4E61-4691-81A7-556B2AFA1199}">
      <dgm:prSet/>
      <dgm:spPr/>
      <dgm:t>
        <a:bodyPr/>
        <a:lstStyle/>
        <a:p>
          <a:endParaRPr lang="en-US"/>
        </a:p>
      </dgm:t>
    </dgm:pt>
    <dgm:pt modelId="{C66D396A-52B6-478C-B884-1DBFC4CE376D}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Operations Analyst</a:t>
          </a:r>
        </a:p>
      </dgm:t>
    </dgm:pt>
    <dgm:pt modelId="{5C1CF0E1-7916-450B-A0FF-4CA85C5ED7EA}" type="parTrans" cxnId="{03290E1F-C35E-485B-B674-0E4422E6CF5F}">
      <dgm:prSet/>
      <dgm:spPr/>
      <dgm:t>
        <a:bodyPr/>
        <a:lstStyle/>
        <a:p>
          <a:endParaRPr lang="en-US"/>
        </a:p>
      </dgm:t>
    </dgm:pt>
    <dgm:pt modelId="{7A5C872D-C307-457F-BCB6-B6C70CBBA8F3}" type="sibTrans" cxnId="{03290E1F-C35E-485B-B674-0E4422E6CF5F}">
      <dgm:prSet/>
      <dgm:spPr/>
      <dgm:t>
        <a:bodyPr/>
        <a:lstStyle/>
        <a:p>
          <a:endParaRPr lang="en-US"/>
        </a:p>
      </dgm:t>
    </dgm:pt>
    <dgm:pt modelId="{275138D2-C73E-447C-AFE2-513D1B0EF955}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Ops Center Analyst</a:t>
          </a:r>
        </a:p>
      </dgm:t>
    </dgm:pt>
    <dgm:pt modelId="{A89F45FC-190E-43B3-89E2-9F073C630106}" type="parTrans" cxnId="{0D5FB651-773F-46E4-833D-ACF1F42D0F80}">
      <dgm:prSet/>
      <dgm:spPr/>
      <dgm:t>
        <a:bodyPr/>
        <a:lstStyle/>
        <a:p>
          <a:endParaRPr lang="en-US"/>
        </a:p>
      </dgm:t>
    </dgm:pt>
    <dgm:pt modelId="{CEB4A5B4-A207-4EEE-90F3-E936C10012CE}" type="sibTrans" cxnId="{0D5FB651-773F-46E4-833D-ACF1F42D0F80}">
      <dgm:prSet/>
      <dgm:spPr/>
      <dgm:t>
        <a:bodyPr/>
        <a:lstStyle/>
        <a:p>
          <a:endParaRPr lang="en-US"/>
        </a:p>
      </dgm:t>
    </dgm:pt>
    <dgm:pt modelId="{64F8D4FA-D3D5-41E7-B1F3-2788F0F14152}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Ops Center Analyst</a:t>
          </a:r>
        </a:p>
      </dgm:t>
    </dgm:pt>
    <dgm:pt modelId="{99F1142D-7578-41B4-AE54-808D802EAC2A}" type="parTrans" cxnId="{493C90B2-94A9-4EDF-83DB-EE9F7E8FC6C4}">
      <dgm:prSet/>
      <dgm:spPr/>
      <dgm:t>
        <a:bodyPr/>
        <a:lstStyle/>
        <a:p>
          <a:endParaRPr lang="en-US"/>
        </a:p>
      </dgm:t>
    </dgm:pt>
    <dgm:pt modelId="{64EA792C-DF07-4774-9E62-82F860AF0DF2}" type="sibTrans" cxnId="{493C90B2-94A9-4EDF-83DB-EE9F7E8FC6C4}">
      <dgm:prSet/>
      <dgm:spPr/>
      <dgm:t>
        <a:bodyPr/>
        <a:lstStyle/>
        <a:p>
          <a:endParaRPr lang="en-US"/>
        </a:p>
      </dgm:t>
    </dgm:pt>
    <dgm:pt modelId="{732D6DDE-1958-4080-B9C5-8822189E6B58}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Ops Center Analyst</a:t>
          </a:r>
        </a:p>
      </dgm:t>
    </dgm:pt>
    <dgm:pt modelId="{29415E4A-C737-48DB-A75A-06C6A7C1C097}" type="parTrans" cxnId="{C788BFB4-1003-44B6-818B-EAED075DF0D5}">
      <dgm:prSet/>
      <dgm:spPr/>
      <dgm:t>
        <a:bodyPr/>
        <a:lstStyle/>
        <a:p>
          <a:endParaRPr lang="en-US"/>
        </a:p>
      </dgm:t>
    </dgm:pt>
    <dgm:pt modelId="{F2038E71-FEBB-4EB0-881E-223FA153D5B7}" type="sibTrans" cxnId="{C788BFB4-1003-44B6-818B-EAED075DF0D5}">
      <dgm:prSet/>
      <dgm:spPr/>
      <dgm:t>
        <a:bodyPr/>
        <a:lstStyle/>
        <a:p>
          <a:endParaRPr lang="en-US"/>
        </a:p>
      </dgm:t>
    </dgm:pt>
    <dgm:pt modelId="{ADB61A74-EFE7-4172-BA5C-70A4B558052A}" type="asst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b="0" dirty="0">
              <a:solidFill>
                <a:schemeClr val="tx1"/>
              </a:solidFill>
            </a:rPr>
            <a:t>Admin</a:t>
          </a:r>
        </a:p>
      </dgm:t>
    </dgm:pt>
    <dgm:pt modelId="{AF9FB500-0E51-409F-A2B0-75F5C91B0C36}" type="parTrans" cxnId="{3DC840C8-45A7-424E-A606-F5D71594EC8C}">
      <dgm:prSet/>
      <dgm:spPr/>
      <dgm:t>
        <a:bodyPr/>
        <a:lstStyle/>
        <a:p>
          <a:endParaRPr lang="en-US"/>
        </a:p>
      </dgm:t>
    </dgm:pt>
    <dgm:pt modelId="{4D95F8D6-0166-416C-A16E-3233DDACFEB6}" type="sibTrans" cxnId="{3DC840C8-45A7-424E-A606-F5D71594EC8C}">
      <dgm:prSet/>
      <dgm:spPr/>
      <dgm:t>
        <a:bodyPr/>
        <a:lstStyle/>
        <a:p>
          <a:endParaRPr lang="en-US"/>
        </a:p>
      </dgm:t>
    </dgm:pt>
    <dgm:pt modelId="{263E18CE-90B2-4143-B0A4-0A61C5034AB5}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Rig Specialist</a:t>
          </a:r>
        </a:p>
      </dgm:t>
    </dgm:pt>
    <dgm:pt modelId="{847D2A0D-6F08-40CD-860D-C73DC592C369}" type="parTrans" cxnId="{9CCA81EC-C1FA-45C0-8DA4-CF34814A7B51}">
      <dgm:prSet/>
      <dgm:spPr/>
      <dgm:t>
        <a:bodyPr/>
        <a:lstStyle/>
        <a:p>
          <a:endParaRPr lang="en-US"/>
        </a:p>
      </dgm:t>
    </dgm:pt>
    <dgm:pt modelId="{095F1534-F56A-4A3A-A5EB-EB62FAA342C4}" type="sibTrans" cxnId="{9CCA81EC-C1FA-45C0-8DA4-CF34814A7B51}">
      <dgm:prSet/>
      <dgm:spPr/>
      <dgm:t>
        <a:bodyPr/>
        <a:lstStyle/>
        <a:p>
          <a:endParaRPr lang="en-US"/>
        </a:p>
      </dgm:t>
    </dgm:pt>
    <dgm:pt modelId="{8D441C1A-54DF-46A1-B10F-0988E9FDD38C}">
      <dgm:prSet phldrT="[Text]" custT="1"/>
      <dgm:spPr>
        <a:solidFill>
          <a:schemeClr val="bg1">
            <a:lumMod val="85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Chemical Specialist</a:t>
          </a:r>
        </a:p>
      </dgm:t>
    </dgm:pt>
    <dgm:pt modelId="{FD49C565-8A7F-4D65-A023-AEEAA36FAC8E}" type="parTrans" cxnId="{8495C81C-267E-4A71-A73E-AB50BB3E24EE}">
      <dgm:prSet/>
      <dgm:spPr/>
      <dgm:t>
        <a:bodyPr/>
        <a:lstStyle/>
        <a:p>
          <a:endParaRPr lang="en-US"/>
        </a:p>
      </dgm:t>
    </dgm:pt>
    <dgm:pt modelId="{129C2A40-EFF2-4167-A23B-F389228C2B7B}" type="sibTrans" cxnId="{8495C81C-267E-4A71-A73E-AB50BB3E24EE}">
      <dgm:prSet/>
      <dgm:spPr/>
      <dgm:t>
        <a:bodyPr/>
        <a:lstStyle/>
        <a:p>
          <a:endParaRPr lang="en-US"/>
        </a:p>
      </dgm:t>
    </dgm:pt>
    <dgm:pt modelId="{A4262D97-A659-4531-916F-5DF3BF937226}">
      <dgm:prSet phldrT="[Text]" custT="1"/>
      <dgm:spPr>
        <a:solidFill>
          <a:schemeClr val="accent1">
            <a:lumMod val="10000"/>
            <a:lumOff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000" dirty="0">
              <a:solidFill>
                <a:schemeClr val="tx1"/>
              </a:solidFill>
            </a:rPr>
            <a:t>Lease Operator</a:t>
          </a:r>
        </a:p>
      </dgm:t>
    </dgm:pt>
    <dgm:pt modelId="{C16E7A3F-4FAC-4D37-8EB8-8B73E615E126}" type="parTrans" cxnId="{A95D04A3-216C-4482-B8DA-5792893342AB}">
      <dgm:prSet/>
      <dgm:spPr/>
      <dgm:t>
        <a:bodyPr/>
        <a:lstStyle/>
        <a:p>
          <a:endParaRPr lang="en-US"/>
        </a:p>
      </dgm:t>
    </dgm:pt>
    <dgm:pt modelId="{24D59F74-16E1-475B-9043-1AB201A78EB7}" type="sibTrans" cxnId="{A95D04A3-216C-4482-B8DA-5792893342AB}">
      <dgm:prSet/>
      <dgm:spPr/>
      <dgm:t>
        <a:bodyPr/>
        <a:lstStyle/>
        <a:p>
          <a:endParaRPr lang="en-US"/>
        </a:p>
      </dgm:t>
    </dgm:pt>
    <dgm:pt modelId="{1D702F36-EFBC-4D33-AFBB-22A512C7F89A}" type="pres">
      <dgm:prSet presAssocID="{EF832AFC-3F8E-4FC2-A2C2-34B65B63776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C736579-9C03-4AE0-BC86-D125DC12861F}" type="pres">
      <dgm:prSet presAssocID="{6E006925-3003-4720-8633-AD5D2DB96A2A}" presName="hierRoot1" presStyleCnt="0">
        <dgm:presLayoutVars>
          <dgm:hierBranch val="init"/>
        </dgm:presLayoutVars>
      </dgm:prSet>
      <dgm:spPr/>
    </dgm:pt>
    <dgm:pt modelId="{8F92E065-A464-4058-8DC3-9141E7868862}" type="pres">
      <dgm:prSet presAssocID="{6E006925-3003-4720-8633-AD5D2DB96A2A}" presName="rootComposite1" presStyleCnt="0"/>
      <dgm:spPr/>
    </dgm:pt>
    <dgm:pt modelId="{B748CB5D-1BF0-40F4-B0E2-608095375244}" type="pres">
      <dgm:prSet presAssocID="{6E006925-3003-4720-8633-AD5D2DB96A2A}" presName="rootText1" presStyleLbl="node0" presStyleIdx="0" presStyleCnt="1">
        <dgm:presLayoutVars>
          <dgm:chPref val="3"/>
        </dgm:presLayoutVars>
      </dgm:prSet>
      <dgm:spPr/>
    </dgm:pt>
    <dgm:pt modelId="{70B29599-2987-4A59-9606-E2C559936213}" type="pres">
      <dgm:prSet presAssocID="{6E006925-3003-4720-8633-AD5D2DB96A2A}" presName="rootConnector1" presStyleLbl="asst0" presStyleIdx="0" presStyleCnt="1"/>
      <dgm:spPr/>
    </dgm:pt>
    <dgm:pt modelId="{FAE866CE-561F-4C3A-9064-6F1D0BD6CF34}" type="pres">
      <dgm:prSet presAssocID="{6E006925-3003-4720-8633-AD5D2DB96A2A}" presName="hierChild2" presStyleCnt="0"/>
      <dgm:spPr/>
    </dgm:pt>
    <dgm:pt modelId="{4617481A-8433-4D8A-9D92-8280515D5E7A}" type="pres">
      <dgm:prSet presAssocID="{03D29BEB-8C5A-4A99-8BC3-76E4815FCD31}" presName="Name37" presStyleLbl="parChTrans1D2" presStyleIdx="0" presStyleCnt="4"/>
      <dgm:spPr/>
    </dgm:pt>
    <dgm:pt modelId="{758C4A9F-C30E-4953-BF90-265BABA0581D}" type="pres">
      <dgm:prSet presAssocID="{8C988897-87B7-4517-9047-DFA7A88C38ED}" presName="hierRoot2" presStyleCnt="0">
        <dgm:presLayoutVars>
          <dgm:hierBranch val="init"/>
        </dgm:presLayoutVars>
      </dgm:prSet>
      <dgm:spPr/>
    </dgm:pt>
    <dgm:pt modelId="{DCC1CDE0-6ED1-45F1-95DA-E0969DACE8A5}" type="pres">
      <dgm:prSet presAssocID="{8C988897-87B7-4517-9047-DFA7A88C38ED}" presName="rootComposite" presStyleCnt="0"/>
      <dgm:spPr/>
    </dgm:pt>
    <dgm:pt modelId="{57776C70-4867-4A75-BB91-ECE4EAD53C8E}" type="pres">
      <dgm:prSet presAssocID="{8C988897-87B7-4517-9047-DFA7A88C38ED}" presName="rootText" presStyleLbl="node2" presStyleIdx="0" presStyleCnt="3">
        <dgm:presLayoutVars>
          <dgm:chPref val="3"/>
        </dgm:presLayoutVars>
      </dgm:prSet>
      <dgm:spPr/>
    </dgm:pt>
    <dgm:pt modelId="{15FEAFC3-CF70-4F3C-9079-5273AB9F4416}" type="pres">
      <dgm:prSet presAssocID="{8C988897-87B7-4517-9047-DFA7A88C38ED}" presName="rootConnector" presStyleLbl="node2" presStyleIdx="0" presStyleCnt="3"/>
      <dgm:spPr/>
    </dgm:pt>
    <dgm:pt modelId="{1B178C22-EA4D-4D36-B1AF-D7FC02535957}" type="pres">
      <dgm:prSet presAssocID="{8C988897-87B7-4517-9047-DFA7A88C38ED}" presName="hierChild4" presStyleCnt="0"/>
      <dgm:spPr/>
    </dgm:pt>
    <dgm:pt modelId="{4B911C8F-417C-49C0-AAE0-9CE821F23A53}" type="pres">
      <dgm:prSet presAssocID="{FDD59A98-5413-4434-8DC1-7DF4B1D9C928}" presName="Name37" presStyleLbl="parChTrans1D3" presStyleIdx="0" presStyleCnt="10"/>
      <dgm:spPr/>
    </dgm:pt>
    <dgm:pt modelId="{345B488C-A60D-4537-A1C3-87297086D5AF}" type="pres">
      <dgm:prSet presAssocID="{1CC0987F-94C0-4CA1-9C1E-E5D65D9D35F5}" presName="hierRoot2" presStyleCnt="0">
        <dgm:presLayoutVars>
          <dgm:hierBranch val="init"/>
        </dgm:presLayoutVars>
      </dgm:prSet>
      <dgm:spPr/>
    </dgm:pt>
    <dgm:pt modelId="{0185262F-4486-4A81-BBAD-30FA74768CFF}" type="pres">
      <dgm:prSet presAssocID="{1CC0987F-94C0-4CA1-9C1E-E5D65D9D35F5}" presName="rootComposite" presStyleCnt="0"/>
      <dgm:spPr/>
    </dgm:pt>
    <dgm:pt modelId="{1F4D08F4-B6A1-4643-8643-00E57F1133EA}" type="pres">
      <dgm:prSet presAssocID="{1CC0987F-94C0-4CA1-9C1E-E5D65D9D35F5}" presName="rootText" presStyleLbl="node3" presStyleIdx="0" presStyleCnt="10">
        <dgm:presLayoutVars>
          <dgm:chPref val="3"/>
        </dgm:presLayoutVars>
      </dgm:prSet>
      <dgm:spPr/>
    </dgm:pt>
    <dgm:pt modelId="{E2E37F56-BA03-4D12-AA70-FEF5EDBA69E0}" type="pres">
      <dgm:prSet presAssocID="{1CC0987F-94C0-4CA1-9C1E-E5D65D9D35F5}" presName="rootConnector" presStyleLbl="node3" presStyleIdx="0" presStyleCnt="10"/>
      <dgm:spPr/>
    </dgm:pt>
    <dgm:pt modelId="{939E656E-02D4-4484-AD78-4DB8B4666A76}" type="pres">
      <dgm:prSet presAssocID="{1CC0987F-94C0-4CA1-9C1E-E5D65D9D35F5}" presName="hierChild4" presStyleCnt="0"/>
      <dgm:spPr/>
    </dgm:pt>
    <dgm:pt modelId="{5F27B44E-4915-466B-B832-3FF70F523FEB}" type="pres">
      <dgm:prSet presAssocID="{8987B43F-EE7D-4124-AB48-46F3316BE98E}" presName="Name37" presStyleLbl="parChTrans1D4" presStyleIdx="0" presStyleCnt="19"/>
      <dgm:spPr/>
    </dgm:pt>
    <dgm:pt modelId="{5B513C3E-6329-4A1B-BFEB-1ECA2EC96EE9}" type="pres">
      <dgm:prSet presAssocID="{6FDAC7CE-C7EF-40C3-B712-A3202A457CEF}" presName="hierRoot2" presStyleCnt="0">
        <dgm:presLayoutVars>
          <dgm:hierBranch val="init"/>
        </dgm:presLayoutVars>
      </dgm:prSet>
      <dgm:spPr/>
    </dgm:pt>
    <dgm:pt modelId="{A545F28C-A406-4024-AFE2-62D786B723BF}" type="pres">
      <dgm:prSet presAssocID="{6FDAC7CE-C7EF-40C3-B712-A3202A457CEF}" presName="rootComposite" presStyleCnt="0"/>
      <dgm:spPr/>
    </dgm:pt>
    <dgm:pt modelId="{C79CBE1C-5BCD-423C-9518-DB48B8FD8151}" type="pres">
      <dgm:prSet presAssocID="{6FDAC7CE-C7EF-40C3-B712-A3202A457CEF}" presName="rootText" presStyleLbl="node4" presStyleIdx="0" presStyleCnt="19" custLinFactNeighborY="-7280">
        <dgm:presLayoutVars>
          <dgm:chPref val="3"/>
        </dgm:presLayoutVars>
      </dgm:prSet>
      <dgm:spPr/>
    </dgm:pt>
    <dgm:pt modelId="{9438E796-ECFF-45AF-BDAD-F51F38B80D1A}" type="pres">
      <dgm:prSet presAssocID="{6FDAC7CE-C7EF-40C3-B712-A3202A457CEF}" presName="rootConnector" presStyleLbl="node4" presStyleIdx="0" presStyleCnt="19"/>
      <dgm:spPr/>
    </dgm:pt>
    <dgm:pt modelId="{6162516E-BD21-451B-ACAE-2F0D599DC449}" type="pres">
      <dgm:prSet presAssocID="{6FDAC7CE-C7EF-40C3-B712-A3202A457CEF}" presName="hierChild4" presStyleCnt="0"/>
      <dgm:spPr/>
    </dgm:pt>
    <dgm:pt modelId="{70B8ECED-25A7-4C38-9712-D19C6F945148}" type="pres">
      <dgm:prSet presAssocID="{6FDAC7CE-C7EF-40C3-B712-A3202A457CEF}" presName="hierChild5" presStyleCnt="0"/>
      <dgm:spPr/>
    </dgm:pt>
    <dgm:pt modelId="{07F66D99-B4F5-48C7-93B8-AB3D74072266}" type="pres">
      <dgm:prSet presAssocID="{F39F50FA-EEE3-4D7A-8C4B-320B85211430}" presName="Name37" presStyleLbl="parChTrans1D4" presStyleIdx="1" presStyleCnt="19"/>
      <dgm:spPr/>
    </dgm:pt>
    <dgm:pt modelId="{B72475A6-A71F-4C7F-ADD0-09334CAE0458}" type="pres">
      <dgm:prSet presAssocID="{C8DBDEE6-FC39-4EAC-9FE5-3F58BA91234D}" presName="hierRoot2" presStyleCnt="0">
        <dgm:presLayoutVars>
          <dgm:hierBranch val="init"/>
        </dgm:presLayoutVars>
      </dgm:prSet>
      <dgm:spPr/>
    </dgm:pt>
    <dgm:pt modelId="{DBADEBEC-4756-4E0A-8036-A14CBFB960EB}" type="pres">
      <dgm:prSet presAssocID="{C8DBDEE6-FC39-4EAC-9FE5-3F58BA91234D}" presName="rootComposite" presStyleCnt="0"/>
      <dgm:spPr/>
    </dgm:pt>
    <dgm:pt modelId="{8EEA6470-AFE7-4291-ACFD-8B7320266F1F}" type="pres">
      <dgm:prSet presAssocID="{C8DBDEE6-FC39-4EAC-9FE5-3F58BA91234D}" presName="rootText" presStyleLbl="node4" presStyleIdx="1" presStyleCnt="19" custLinFactNeighborY="-7280">
        <dgm:presLayoutVars>
          <dgm:chPref val="3"/>
        </dgm:presLayoutVars>
      </dgm:prSet>
      <dgm:spPr/>
    </dgm:pt>
    <dgm:pt modelId="{EC5FC57E-FFD1-4726-A3E4-2553AA7909D3}" type="pres">
      <dgm:prSet presAssocID="{C8DBDEE6-FC39-4EAC-9FE5-3F58BA91234D}" presName="rootConnector" presStyleLbl="node4" presStyleIdx="1" presStyleCnt="19"/>
      <dgm:spPr/>
    </dgm:pt>
    <dgm:pt modelId="{4D5A0297-B561-4CAE-B4AE-664240F079F6}" type="pres">
      <dgm:prSet presAssocID="{C8DBDEE6-FC39-4EAC-9FE5-3F58BA91234D}" presName="hierChild4" presStyleCnt="0"/>
      <dgm:spPr/>
    </dgm:pt>
    <dgm:pt modelId="{5C53ABD1-E59C-4483-BD92-6E2BFC55B79B}" type="pres">
      <dgm:prSet presAssocID="{C8DBDEE6-FC39-4EAC-9FE5-3F58BA91234D}" presName="hierChild5" presStyleCnt="0"/>
      <dgm:spPr/>
    </dgm:pt>
    <dgm:pt modelId="{983796B0-4E24-4037-A756-23DAC096EEDD}" type="pres">
      <dgm:prSet presAssocID="{62D16580-86F9-40F0-867C-B38652B85398}" presName="Name37" presStyleLbl="parChTrans1D4" presStyleIdx="2" presStyleCnt="19"/>
      <dgm:spPr/>
    </dgm:pt>
    <dgm:pt modelId="{4F03B16F-0CD1-4F73-AE40-373E35BB09F6}" type="pres">
      <dgm:prSet presAssocID="{039FA459-9C06-468E-B1F7-E5A82D5411B4}" presName="hierRoot2" presStyleCnt="0">
        <dgm:presLayoutVars>
          <dgm:hierBranch val="init"/>
        </dgm:presLayoutVars>
      </dgm:prSet>
      <dgm:spPr/>
    </dgm:pt>
    <dgm:pt modelId="{982166F2-55D1-4F2F-ACE6-7257FB6EBFCD}" type="pres">
      <dgm:prSet presAssocID="{039FA459-9C06-468E-B1F7-E5A82D5411B4}" presName="rootComposite" presStyleCnt="0"/>
      <dgm:spPr/>
    </dgm:pt>
    <dgm:pt modelId="{BDED5FC7-7ECA-4F93-98CF-FB3DDFEDBC40}" type="pres">
      <dgm:prSet presAssocID="{039FA459-9C06-468E-B1F7-E5A82D5411B4}" presName="rootText" presStyleLbl="node4" presStyleIdx="2" presStyleCnt="19" custLinFactNeighborY="-7280">
        <dgm:presLayoutVars>
          <dgm:chPref val="3"/>
        </dgm:presLayoutVars>
      </dgm:prSet>
      <dgm:spPr/>
    </dgm:pt>
    <dgm:pt modelId="{A35E73FB-957F-43C2-897A-B1C7D473680F}" type="pres">
      <dgm:prSet presAssocID="{039FA459-9C06-468E-B1F7-E5A82D5411B4}" presName="rootConnector" presStyleLbl="node4" presStyleIdx="2" presStyleCnt="19"/>
      <dgm:spPr/>
    </dgm:pt>
    <dgm:pt modelId="{DB20039D-E80F-45B7-BEFC-CC83647384D1}" type="pres">
      <dgm:prSet presAssocID="{039FA459-9C06-468E-B1F7-E5A82D5411B4}" presName="hierChild4" presStyleCnt="0"/>
      <dgm:spPr/>
    </dgm:pt>
    <dgm:pt modelId="{606C1A11-5207-4326-813F-D30B0337645E}" type="pres">
      <dgm:prSet presAssocID="{039FA459-9C06-468E-B1F7-E5A82D5411B4}" presName="hierChild5" presStyleCnt="0"/>
      <dgm:spPr/>
    </dgm:pt>
    <dgm:pt modelId="{5AC7132E-9C97-4821-9AB9-A1B5D43163E9}" type="pres">
      <dgm:prSet presAssocID="{FAF273E8-FB9C-4474-92C9-A0CDE5FEDDC1}" presName="Name37" presStyleLbl="parChTrans1D4" presStyleIdx="3" presStyleCnt="19"/>
      <dgm:spPr/>
    </dgm:pt>
    <dgm:pt modelId="{0BA209E4-D36D-409B-80D8-7847D7F6E3CE}" type="pres">
      <dgm:prSet presAssocID="{E557E23E-C3E6-42E2-868F-877B1D8E73CB}" presName="hierRoot2" presStyleCnt="0">
        <dgm:presLayoutVars>
          <dgm:hierBranch val="init"/>
        </dgm:presLayoutVars>
      </dgm:prSet>
      <dgm:spPr/>
    </dgm:pt>
    <dgm:pt modelId="{62AA3CB0-ABBF-4DF4-AD13-7566DE887EB4}" type="pres">
      <dgm:prSet presAssocID="{E557E23E-C3E6-42E2-868F-877B1D8E73CB}" presName="rootComposite" presStyleCnt="0"/>
      <dgm:spPr/>
    </dgm:pt>
    <dgm:pt modelId="{D0C06A9D-9519-414B-BFF8-974E13F78F47}" type="pres">
      <dgm:prSet presAssocID="{E557E23E-C3E6-42E2-868F-877B1D8E73CB}" presName="rootText" presStyleLbl="node4" presStyleIdx="3" presStyleCnt="19" custLinFactNeighborY="-7280">
        <dgm:presLayoutVars>
          <dgm:chPref val="3"/>
        </dgm:presLayoutVars>
      </dgm:prSet>
      <dgm:spPr/>
    </dgm:pt>
    <dgm:pt modelId="{A88EF65C-30E4-4BAB-91D7-5FCA3657199C}" type="pres">
      <dgm:prSet presAssocID="{E557E23E-C3E6-42E2-868F-877B1D8E73CB}" presName="rootConnector" presStyleLbl="node4" presStyleIdx="3" presStyleCnt="19"/>
      <dgm:spPr/>
    </dgm:pt>
    <dgm:pt modelId="{1A509501-179F-4793-AFAC-EA635C5BE1EA}" type="pres">
      <dgm:prSet presAssocID="{E557E23E-C3E6-42E2-868F-877B1D8E73CB}" presName="hierChild4" presStyleCnt="0"/>
      <dgm:spPr/>
    </dgm:pt>
    <dgm:pt modelId="{45560DA3-8A58-46ED-A2B2-045EFA99D928}" type="pres">
      <dgm:prSet presAssocID="{E557E23E-C3E6-42E2-868F-877B1D8E73CB}" presName="hierChild5" presStyleCnt="0"/>
      <dgm:spPr/>
    </dgm:pt>
    <dgm:pt modelId="{0CBDE9EB-5821-4336-A084-BD7690A27F60}" type="pres">
      <dgm:prSet presAssocID="{83BD93D6-7A0E-4A44-AB13-3EF7F617E4A6}" presName="Name37" presStyleLbl="parChTrans1D4" presStyleIdx="4" presStyleCnt="19"/>
      <dgm:spPr/>
    </dgm:pt>
    <dgm:pt modelId="{D00C3EFE-24A9-474F-A311-8B3689436531}" type="pres">
      <dgm:prSet presAssocID="{97751B3B-AFD0-4B86-8DBD-7987C92C6E32}" presName="hierRoot2" presStyleCnt="0">
        <dgm:presLayoutVars>
          <dgm:hierBranch val="init"/>
        </dgm:presLayoutVars>
      </dgm:prSet>
      <dgm:spPr/>
    </dgm:pt>
    <dgm:pt modelId="{97E76F27-4B03-412B-BE11-A7A8058031CA}" type="pres">
      <dgm:prSet presAssocID="{97751B3B-AFD0-4B86-8DBD-7987C92C6E32}" presName="rootComposite" presStyleCnt="0"/>
      <dgm:spPr/>
    </dgm:pt>
    <dgm:pt modelId="{90ACCBF6-8CCD-45FE-A2D6-178440392A5C}" type="pres">
      <dgm:prSet presAssocID="{97751B3B-AFD0-4B86-8DBD-7987C92C6E32}" presName="rootText" presStyleLbl="node4" presStyleIdx="4" presStyleCnt="19" custLinFactNeighborY="-7280">
        <dgm:presLayoutVars>
          <dgm:chPref val="3"/>
        </dgm:presLayoutVars>
      </dgm:prSet>
      <dgm:spPr/>
    </dgm:pt>
    <dgm:pt modelId="{0F1C5F80-8969-4F48-BD14-9FA94170E033}" type="pres">
      <dgm:prSet presAssocID="{97751B3B-AFD0-4B86-8DBD-7987C92C6E32}" presName="rootConnector" presStyleLbl="node4" presStyleIdx="4" presStyleCnt="19"/>
      <dgm:spPr/>
    </dgm:pt>
    <dgm:pt modelId="{39B9E323-7C7C-438C-8EDD-E99CB8E8E4EF}" type="pres">
      <dgm:prSet presAssocID="{97751B3B-AFD0-4B86-8DBD-7987C92C6E32}" presName="hierChild4" presStyleCnt="0"/>
      <dgm:spPr/>
    </dgm:pt>
    <dgm:pt modelId="{0F884F7E-E24C-4F19-804E-E06856C1A023}" type="pres">
      <dgm:prSet presAssocID="{97751B3B-AFD0-4B86-8DBD-7987C92C6E32}" presName="hierChild5" presStyleCnt="0"/>
      <dgm:spPr/>
    </dgm:pt>
    <dgm:pt modelId="{E45270CA-7EFA-4078-9809-BAA2674AF486}" type="pres">
      <dgm:prSet presAssocID="{C16E7A3F-4FAC-4D37-8EB8-8B73E615E126}" presName="Name37" presStyleLbl="parChTrans1D4" presStyleIdx="5" presStyleCnt="19"/>
      <dgm:spPr/>
    </dgm:pt>
    <dgm:pt modelId="{C88128C1-E554-425B-A701-440E541095C5}" type="pres">
      <dgm:prSet presAssocID="{A4262D97-A659-4531-916F-5DF3BF937226}" presName="hierRoot2" presStyleCnt="0">
        <dgm:presLayoutVars>
          <dgm:hierBranch val="init"/>
        </dgm:presLayoutVars>
      </dgm:prSet>
      <dgm:spPr/>
    </dgm:pt>
    <dgm:pt modelId="{8D4B04EC-7BEA-4103-8750-F32FAE9AE18C}" type="pres">
      <dgm:prSet presAssocID="{A4262D97-A659-4531-916F-5DF3BF937226}" presName="rootComposite" presStyleCnt="0"/>
      <dgm:spPr/>
    </dgm:pt>
    <dgm:pt modelId="{6DDF7D82-D646-4609-A094-3328A062DF6E}" type="pres">
      <dgm:prSet presAssocID="{A4262D97-A659-4531-916F-5DF3BF937226}" presName="rootText" presStyleLbl="node4" presStyleIdx="5" presStyleCnt="19">
        <dgm:presLayoutVars>
          <dgm:chPref val="3"/>
        </dgm:presLayoutVars>
      </dgm:prSet>
      <dgm:spPr/>
    </dgm:pt>
    <dgm:pt modelId="{A7325601-2354-47E8-B1F0-A1CEABE054DC}" type="pres">
      <dgm:prSet presAssocID="{A4262D97-A659-4531-916F-5DF3BF937226}" presName="rootConnector" presStyleLbl="node4" presStyleIdx="5" presStyleCnt="19"/>
      <dgm:spPr/>
    </dgm:pt>
    <dgm:pt modelId="{5892D101-FEA9-4041-9FC5-EE8E9C680763}" type="pres">
      <dgm:prSet presAssocID="{A4262D97-A659-4531-916F-5DF3BF937226}" presName="hierChild4" presStyleCnt="0"/>
      <dgm:spPr/>
    </dgm:pt>
    <dgm:pt modelId="{7BEACED9-F838-46DA-B68C-4710BC059988}" type="pres">
      <dgm:prSet presAssocID="{A4262D97-A659-4531-916F-5DF3BF937226}" presName="hierChild5" presStyleCnt="0"/>
      <dgm:spPr/>
    </dgm:pt>
    <dgm:pt modelId="{9F5D827E-DD8E-48EA-8B98-C974923FE59A}" type="pres">
      <dgm:prSet presAssocID="{1CC0987F-94C0-4CA1-9C1E-E5D65D9D35F5}" presName="hierChild5" presStyleCnt="0"/>
      <dgm:spPr/>
    </dgm:pt>
    <dgm:pt modelId="{2CCE8910-CA11-4D95-8921-8FAA0892D302}" type="pres">
      <dgm:prSet presAssocID="{C87D7B44-38B7-49BA-A29A-8B31970D16E2}" presName="Name37" presStyleLbl="parChTrans1D3" presStyleIdx="1" presStyleCnt="10"/>
      <dgm:spPr/>
    </dgm:pt>
    <dgm:pt modelId="{BA07EB2B-271B-4F43-ACB3-9D8B4BD87B45}" type="pres">
      <dgm:prSet presAssocID="{540C2E9F-1889-4B78-8850-A2214620AEC2}" presName="hierRoot2" presStyleCnt="0">
        <dgm:presLayoutVars>
          <dgm:hierBranch val="init"/>
        </dgm:presLayoutVars>
      </dgm:prSet>
      <dgm:spPr/>
    </dgm:pt>
    <dgm:pt modelId="{CB9408ED-FA9E-4480-A731-FB5E1413083F}" type="pres">
      <dgm:prSet presAssocID="{540C2E9F-1889-4B78-8850-A2214620AEC2}" presName="rootComposite" presStyleCnt="0"/>
      <dgm:spPr/>
    </dgm:pt>
    <dgm:pt modelId="{CE56B94C-735A-48F5-B1DC-31EAB6128EEC}" type="pres">
      <dgm:prSet presAssocID="{540C2E9F-1889-4B78-8850-A2214620AEC2}" presName="rootText" presStyleLbl="node3" presStyleIdx="1" presStyleCnt="10">
        <dgm:presLayoutVars>
          <dgm:chPref val="3"/>
        </dgm:presLayoutVars>
      </dgm:prSet>
      <dgm:spPr/>
    </dgm:pt>
    <dgm:pt modelId="{E89B0C45-91FF-4D25-BFAB-CFB5B125FD7A}" type="pres">
      <dgm:prSet presAssocID="{540C2E9F-1889-4B78-8850-A2214620AEC2}" presName="rootConnector" presStyleLbl="node3" presStyleIdx="1" presStyleCnt="10"/>
      <dgm:spPr/>
    </dgm:pt>
    <dgm:pt modelId="{E460B6B5-74F5-471F-8344-01397D461C2B}" type="pres">
      <dgm:prSet presAssocID="{540C2E9F-1889-4B78-8850-A2214620AEC2}" presName="hierChild4" presStyleCnt="0"/>
      <dgm:spPr/>
    </dgm:pt>
    <dgm:pt modelId="{A2EE17B1-5269-4D91-8EAE-84C00C476E4F}" type="pres">
      <dgm:prSet presAssocID="{9DF2303F-F99E-4326-AF63-497F712471BA}" presName="Name37" presStyleLbl="parChTrans1D4" presStyleIdx="6" presStyleCnt="19"/>
      <dgm:spPr/>
    </dgm:pt>
    <dgm:pt modelId="{CF136983-75A7-4BC2-BD71-04C40F42A3B4}" type="pres">
      <dgm:prSet presAssocID="{42048756-FBAC-4696-8F89-CC6248B7085F}" presName="hierRoot2" presStyleCnt="0">
        <dgm:presLayoutVars>
          <dgm:hierBranch val="init"/>
        </dgm:presLayoutVars>
      </dgm:prSet>
      <dgm:spPr/>
    </dgm:pt>
    <dgm:pt modelId="{B8239194-CA26-475D-84B1-F067E4039A54}" type="pres">
      <dgm:prSet presAssocID="{42048756-FBAC-4696-8F89-CC6248B7085F}" presName="rootComposite" presStyleCnt="0"/>
      <dgm:spPr/>
    </dgm:pt>
    <dgm:pt modelId="{F5F7E505-2D9D-4770-97E1-42609DA4ACF5}" type="pres">
      <dgm:prSet presAssocID="{42048756-FBAC-4696-8F89-CC6248B7085F}" presName="rootText" presStyleLbl="node4" presStyleIdx="6" presStyleCnt="19" custLinFactNeighborY="-7280">
        <dgm:presLayoutVars>
          <dgm:chPref val="3"/>
        </dgm:presLayoutVars>
      </dgm:prSet>
      <dgm:spPr/>
    </dgm:pt>
    <dgm:pt modelId="{2DFE33DD-BC40-4FEC-BBB9-998940CB7A0B}" type="pres">
      <dgm:prSet presAssocID="{42048756-FBAC-4696-8F89-CC6248B7085F}" presName="rootConnector" presStyleLbl="node4" presStyleIdx="6" presStyleCnt="19"/>
      <dgm:spPr/>
    </dgm:pt>
    <dgm:pt modelId="{CEB4A593-378B-4A7E-A9A7-5EFBFCBEF1F9}" type="pres">
      <dgm:prSet presAssocID="{42048756-FBAC-4696-8F89-CC6248B7085F}" presName="hierChild4" presStyleCnt="0"/>
      <dgm:spPr/>
    </dgm:pt>
    <dgm:pt modelId="{6CF7E79F-5E53-4C6C-B93C-71EBD53A0140}" type="pres">
      <dgm:prSet presAssocID="{42048756-FBAC-4696-8F89-CC6248B7085F}" presName="hierChild5" presStyleCnt="0"/>
      <dgm:spPr/>
    </dgm:pt>
    <dgm:pt modelId="{F9A8F6A6-2D0C-4B80-A155-F7CAE6A84806}" type="pres">
      <dgm:prSet presAssocID="{614AE487-CB22-4019-B44A-968EBE925A3A}" presName="Name37" presStyleLbl="parChTrans1D4" presStyleIdx="7" presStyleCnt="19"/>
      <dgm:spPr/>
    </dgm:pt>
    <dgm:pt modelId="{10BF3E37-868E-45CC-93F9-FA3B02E53F7E}" type="pres">
      <dgm:prSet presAssocID="{A4F8D06E-6868-4605-9CA8-D5DBE8552438}" presName="hierRoot2" presStyleCnt="0">
        <dgm:presLayoutVars>
          <dgm:hierBranch val="init"/>
        </dgm:presLayoutVars>
      </dgm:prSet>
      <dgm:spPr/>
    </dgm:pt>
    <dgm:pt modelId="{1B2FADC9-8C5C-40B4-81C3-B63978258FBE}" type="pres">
      <dgm:prSet presAssocID="{A4F8D06E-6868-4605-9CA8-D5DBE8552438}" presName="rootComposite" presStyleCnt="0"/>
      <dgm:spPr/>
    </dgm:pt>
    <dgm:pt modelId="{FA762EA6-3940-4136-A615-06324795D68F}" type="pres">
      <dgm:prSet presAssocID="{A4F8D06E-6868-4605-9CA8-D5DBE8552438}" presName="rootText" presStyleLbl="node4" presStyleIdx="7" presStyleCnt="19" custLinFactNeighborY="-7280">
        <dgm:presLayoutVars>
          <dgm:chPref val="3"/>
        </dgm:presLayoutVars>
      </dgm:prSet>
      <dgm:spPr/>
    </dgm:pt>
    <dgm:pt modelId="{E99C2D6E-F9D2-4F8E-B31C-A508BF845E9A}" type="pres">
      <dgm:prSet presAssocID="{A4F8D06E-6868-4605-9CA8-D5DBE8552438}" presName="rootConnector" presStyleLbl="node4" presStyleIdx="7" presStyleCnt="19"/>
      <dgm:spPr/>
    </dgm:pt>
    <dgm:pt modelId="{16C39DB7-C050-41DE-AF17-41DE84109C38}" type="pres">
      <dgm:prSet presAssocID="{A4F8D06E-6868-4605-9CA8-D5DBE8552438}" presName="hierChild4" presStyleCnt="0"/>
      <dgm:spPr/>
    </dgm:pt>
    <dgm:pt modelId="{F785D091-A59A-483F-A0AC-189E494789E8}" type="pres">
      <dgm:prSet presAssocID="{A4F8D06E-6868-4605-9CA8-D5DBE8552438}" presName="hierChild5" presStyleCnt="0"/>
      <dgm:spPr/>
    </dgm:pt>
    <dgm:pt modelId="{318689F4-38BD-49C3-BF24-078BB270AE7F}" type="pres">
      <dgm:prSet presAssocID="{5CF0E6F3-E44B-4DD5-91AD-9A16ADA6EF9D}" presName="Name37" presStyleLbl="parChTrans1D4" presStyleIdx="8" presStyleCnt="19"/>
      <dgm:spPr/>
    </dgm:pt>
    <dgm:pt modelId="{80F82264-D083-46B3-8BA4-A117BF9C289F}" type="pres">
      <dgm:prSet presAssocID="{69B3BA99-19BE-4056-B447-B57A5D6EB800}" presName="hierRoot2" presStyleCnt="0">
        <dgm:presLayoutVars>
          <dgm:hierBranch val="init"/>
        </dgm:presLayoutVars>
      </dgm:prSet>
      <dgm:spPr/>
    </dgm:pt>
    <dgm:pt modelId="{0AF36195-7756-45DE-A2D4-5CD34AA417BF}" type="pres">
      <dgm:prSet presAssocID="{69B3BA99-19BE-4056-B447-B57A5D6EB800}" presName="rootComposite" presStyleCnt="0"/>
      <dgm:spPr/>
    </dgm:pt>
    <dgm:pt modelId="{E48CBA97-491F-4650-AB97-AC64AF0CDB42}" type="pres">
      <dgm:prSet presAssocID="{69B3BA99-19BE-4056-B447-B57A5D6EB800}" presName="rootText" presStyleLbl="node4" presStyleIdx="8" presStyleCnt="19" custLinFactNeighborY="-7280">
        <dgm:presLayoutVars>
          <dgm:chPref val="3"/>
        </dgm:presLayoutVars>
      </dgm:prSet>
      <dgm:spPr/>
    </dgm:pt>
    <dgm:pt modelId="{E665A790-DD05-4110-AFF7-9C386768B58E}" type="pres">
      <dgm:prSet presAssocID="{69B3BA99-19BE-4056-B447-B57A5D6EB800}" presName="rootConnector" presStyleLbl="node4" presStyleIdx="8" presStyleCnt="19"/>
      <dgm:spPr/>
    </dgm:pt>
    <dgm:pt modelId="{71FEFEE6-22D1-4110-8C01-BC6BF02ECDBE}" type="pres">
      <dgm:prSet presAssocID="{69B3BA99-19BE-4056-B447-B57A5D6EB800}" presName="hierChild4" presStyleCnt="0"/>
      <dgm:spPr/>
    </dgm:pt>
    <dgm:pt modelId="{28B17821-F24A-4175-8CD3-9B37917A9C5A}" type="pres">
      <dgm:prSet presAssocID="{69B3BA99-19BE-4056-B447-B57A5D6EB800}" presName="hierChild5" presStyleCnt="0"/>
      <dgm:spPr/>
    </dgm:pt>
    <dgm:pt modelId="{A3DE7EBE-F873-46CB-8955-E6DECCD06FFF}" type="pres">
      <dgm:prSet presAssocID="{7F888869-3C7D-49EA-89F2-0844ADD737EA}" presName="Name37" presStyleLbl="parChTrans1D4" presStyleIdx="9" presStyleCnt="19"/>
      <dgm:spPr/>
    </dgm:pt>
    <dgm:pt modelId="{0DA5B4C6-5FE6-4526-AAFF-EB4DE3437376}" type="pres">
      <dgm:prSet presAssocID="{7A84427C-3B15-4A06-B001-88E182CD7F3D}" presName="hierRoot2" presStyleCnt="0">
        <dgm:presLayoutVars>
          <dgm:hierBranch val="init"/>
        </dgm:presLayoutVars>
      </dgm:prSet>
      <dgm:spPr/>
    </dgm:pt>
    <dgm:pt modelId="{C951104C-DE3A-49A7-82B6-D08869DCC550}" type="pres">
      <dgm:prSet presAssocID="{7A84427C-3B15-4A06-B001-88E182CD7F3D}" presName="rootComposite" presStyleCnt="0"/>
      <dgm:spPr/>
    </dgm:pt>
    <dgm:pt modelId="{9307D0D8-28C6-42CE-B987-279A22C8F181}" type="pres">
      <dgm:prSet presAssocID="{7A84427C-3B15-4A06-B001-88E182CD7F3D}" presName="rootText" presStyleLbl="node4" presStyleIdx="9" presStyleCnt="19" custLinFactNeighborY="-7280">
        <dgm:presLayoutVars>
          <dgm:chPref val="3"/>
        </dgm:presLayoutVars>
      </dgm:prSet>
      <dgm:spPr/>
    </dgm:pt>
    <dgm:pt modelId="{AA4F6333-8A2A-4739-8884-3AAC1B530A12}" type="pres">
      <dgm:prSet presAssocID="{7A84427C-3B15-4A06-B001-88E182CD7F3D}" presName="rootConnector" presStyleLbl="node4" presStyleIdx="9" presStyleCnt="19"/>
      <dgm:spPr/>
    </dgm:pt>
    <dgm:pt modelId="{BA730EDC-71E6-424E-ACD2-5AC2DEE84B11}" type="pres">
      <dgm:prSet presAssocID="{7A84427C-3B15-4A06-B001-88E182CD7F3D}" presName="hierChild4" presStyleCnt="0"/>
      <dgm:spPr/>
    </dgm:pt>
    <dgm:pt modelId="{CFAF1621-7639-4ECB-B13B-31C76A541343}" type="pres">
      <dgm:prSet presAssocID="{7A84427C-3B15-4A06-B001-88E182CD7F3D}" presName="hierChild5" presStyleCnt="0"/>
      <dgm:spPr/>
    </dgm:pt>
    <dgm:pt modelId="{C93F01E3-5822-44E4-B417-6C97B4660682}" type="pres">
      <dgm:prSet presAssocID="{9F6D6DF3-BD86-4B79-B0EA-6229995A3CF6}" presName="Name37" presStyleLbl="parChTrans1D4" presStyleIdx="10" presStyleCnt="19"/>
      <dgm:spPr/>
    </dgm:pt>
    <dgm:pt modelId="{9F96A5C3-3F9D-4641-BDB4-E31CEE7D300A}" type="pres">
      <dgm:prSet presAssocID="{2237456A-7CAD-4BBB-8B75-8BA710CDB2DB}" presName="hierRoot2" presStyleCnt="0">
        <dgm:presLayoutVars>
          <dgm:hierBranch val="init"/>
        </dgm:presLayoutVars>
      </dgm:prSet>
      <dgm:spPr/>
    </dgm:pt>
    <dgm:pt modelId="{05BF7D3C-C78B-4913-8315-2C34EE5BF6DB}" type="pres">
      <dgm:prSet presAssocID="{2237456A-7CAD-4BBB-8B75-8BA710CDB2DB}" presName="rootComposite" presStyleCnt="0"/>
      <dgm:spPr/>
    </dgm:pt>
    <dgm:pt modelId="{8BD35391-95B9-4320-8202-838D0E00D891}" type="pres">
      <dgm:prSet presAssocID="{2237456A-7CAD-4BBB-8B75-8BA710CDB2DB}" presName="rootText" presStyleLbl="node4" presStyleIdx="10" presStyleCnt="19" custLinFactNeighborY="-7280">
        <dgm:presLayoutVars>
          <dgm:chPref val="3"/>
        </dgm:presLayoutVars>
      </dgm:prSet>
      <dgm:spPr/>
    </dgm:pt>
    <dgm:pt modelId="{9DF6EFBF-7296-41C6-A2FA-178DABE2BD52}" type="pres">
      <dgm:prSet presAssocID="{2237456A-7CAD-4BBB-8B75-8BA710CDB2DB}" presName="rootConnector" presStyleLbl="node4" presStyleIdx="10" presStyleCnt="19"/>
      <dgm:spPr/>
    </dgm:pt>
    <dgm:pt modelId="{58AA4D5F-E330-4D48-80B2-4E9002DDD8C0}" type="pres">
      <dgm:prSet presAssocID="{2237456A-7CAD-4BBB-8B75-8BA710CDB2DB}" presName="hierChild4" presStyleCnt="0"/>
      <dgm:spPr/>
    </dgm:pt>
    <dgm:pt modelId="{1FFD3A23-350B-47D9-8BC8-9119B4F91E66}" type="pres">
      <dgm:prSet presAssocID="{2237456A-7CAD-4BBB-8B75-8BA710CDB2DB}" presName="hierChild5" presStyleCnt="0"/>
      <dgm:spPr/>
    </dgm:pt>
    <dgm:pt modelId="{46996C6C-81C9-4462-8850-89C6464A11B3}" type="pres">
      <dgm:prSet presAssocID="{540C2E9F-1889-4B78-8850-A2214620AEC2}" presName="hierChild5" presStyleCnt="0"/>
      <dgm:spPr/>
    </dgm:pt>
    <dgm:pt modelId="{2614C827-FB91-461A-A733-F1E13A0FE48A}" type="pres">
      <dgm:prSet presAssocID="{8C988897-87B7-4517-9047-DFA7A88C38ED}" presName="hierChild5" presStyleCnt="0"/>
      <dgm:spPr/>
    </dgm:pt>
    <dgm:pt modelId="{26B8BE0C-B6B2-41D8-9DFA-F1DA7BCA117F}" type="pres">
      <dgm:prSet presAssocID="{1FB87FED-6972-430F-AC0C-71746CE494E0}" presName="Name37" presStyleLbl="parChTrans1D2" presStyleIdx="1" presStyleCnt="4"/>
      <dgm:spPr/>
    </dgm:pt>
    <dgm:pt modelId="{AB1EF0A5-1D70-43F0-82CC-EF14CE76CFC0}" type="pres">
      <dgm:prSet presAssocID="{CEFE54B5-1BF0-40D8-A238-41A7896496D8}" presName="hierRoot2" presStyleCnt="0">
        <dgm:presLayoutVars>
          <dgm:hierBranch val="init"/>
        </dgm:presLayoutVars>
      </dgm:prSet>
      <dgm:spPr/>
    </dgm:pt>
    <dgm:pt modelId="{41F6E431-DC8B-416E-A517-9DD10D1E79A3}" type="pres">
      <dgm:prSet presAssocID="{CEFE54B5-1BF0-40D8-A238-41A7896496D8}" presName="rootComposite" presStyleCnt="0"/>
      <dgm:spPr/>
    </dgm:pt>
    <dgm:pt modelId="{E180F611-3F02-473E-B8B3-2F7FCC74AF64}" type="pres">
      <dgm:prSet presAssocID="{CEFE54B5-1BF0-40D8-A238-41A7896496D8}" presName="rootText" presStyleLbl="node2" presStyleIdx="1" presStyleCnt="3">
        <dgm:presLayoutVars>
          <dgm:chPref val="3"/>
        </dgm:presLayoutVars>
      </dgm:prSet>
      <dgm:spPr/>
    </dgm:pt>
    <dgm:pt modelId="{D8C76C5F-CACD-4BE9-9210-01DA99ABE337}" type="pres">
      <dgm:prSet presAssocID="{CEFE54B5-1BF0-40D8-A238-41A7896496D8}" presName="rootConnector" presStyleLbl="node2" presStyleIdx="1" presStyleCnt="3"/>
      <dgm:spPr/>
    </dgm:pt>
    <dgm:pt modelId="{94DF78DD-6BB2-4482-A3AF-4FDE94ED955D}" type="pres">
      <dgm:prSet presAssocID="{CEFE54B5-1BF0-40D8-A238-41A7896496D8}" presName="hierChild4" presStyleCnt="0"/>
      <dgm:spPr/>
    </dgm:pt>
    <dgm:pt modelId="{5334F2DE-F338-4A4E-8CF6-77E2FD3A717B}" type="pres">
      <dgm:prSet presAssocID="{3D973D13-7791-456C-B9BE-CDB53C40AD0D}" presName="Name37" presStyleLbl="parChTrans1D3" presStyleIdx="2" presStyleCnt="10"/>
      <dgm:spPr/>
    </dgm:pt>
    <dgm:pt modelId="{A9A5D547-0429-4E12-97BC-9BF78EDB3169}" type="pres">
      <dgm:prSet presAssocID="{82AAA354-A7CE-4AB1-99AB-2B651718BBA4}" presName="hierRoot2" presStyleCnt="0">
        <dgm:presLayoutVars>
          <dgm:hierBranch val="init"/>
        </dgm:presLayoutVars>
      </dgm:prSet>
      <dgm:spPr/>
    </dgm:pt>
    <dgm:pt modelId="{5AC9DEDE-4613-4EF1-B6D6-F51276FC13AE}" type="pres">
      <dgm:prSet presAssocID="{82AAA354-A7CE-4AB1-99AB-2B651718BBA4}" presName="rootComposite" presStyleCnt="0"/>
      <dgm:spPr/>
    </dgm:pt>
    <dgm:pt modelId="{72BE5304-752C-4167-B03F-5A6E23A69990}" type="pres">
      <dgm:prSet presAssocID="{82AAA354-A7CE-4AB1-99AB-2B651718BBA4}" presName="rootText" presStyleLbl="node3" presStyleIdx="2" presStyleCnt="10">
        <dgm:presLayoutVars>
          <dgm:chPref val="3"/>
        </dgm:presLayoutVars>
      </dgm:prSet>
      <dgm:spPr/>
    </dgm:pt>
    <dgm:pt modelId="{715A2952-F3DA-4A02-ACE8-7C57C9B40431}" type="pres">
      <dgm:prSet presAssocID="{82AAA354-A7CE-4AB1-99AB-2B651718BBA4}" presName="rootConnector" presStyleLbl="node3" presStyleIdx="2" presStyleCnt="10"/>
      <dgm:spPr/>
    </dgm:pt>
    <dgm:pt modelId="{13D1BA56-B39D-49BF-BF44-0E6A02BF521B}" type="pres">
      <dgm:prSet presAssocID="{82AAA354-A7CE-4AB1-99AB-2B651718BBA4}" presName="hierChild4" presStyleCnt="0"/>
      <dgm:spPr/>
    </dgm:pt>
    <dgm:pt modelId="{6C59BE90-8A13-4704-9367-E91AC7A75F0B}" type="pres">
      <dgm:prSet presAssocID="{30F82C44-F97D-491F-8381-068EEDDCD21B}" presName="Name37" presStyleLbl="parChTrans1D4" presStyleIdx="11" presStyleCnt="19"/>
      <dgm:spPr/>
    </dgm:pt>
    <dgm:pt modelId="{0F770B02-F6D0-4D7B-AD59-E4DDAA7BBE25}" type="pres">
      <dgm:prSet presAssocID="{4D793E25-9924-492C-B00A-32F155E6050A}" presName="hierRoot2" presStyleCnt="0">
        <dgm:presLayoutVars>
          <dgm:hierBranch val="init"/>
        </dgm:presLayoutVars>
      </dgm:prSet>
      <dgm:spPr/>
    </dgm:pt>
    <dgm:pt modelId="{785C12E3-7B0C-4835-B07F-FD69D1AC0571}" type="pres">
      <dgm:prSet presAssocID="{4D793E25-9924-492C-B00A-32F155E6050A}" presName="rootComposite" presStyleCnt="0"/>
      <dgm:spPr/>
    </dgm:pt>
    <dgm:pt modelId="{EF7362E5-E6E8-41B8-BEAF-EEAD6195ADB6}" type="pres">
      <dgm:prSet presAssocID="{4D793E25-9924-492C-B00A-32F155E6050A}" presName="rootText" presStyleLbl="node4" presStyleIdx="11" presStyleCnt="19" custLinFactNeighborY="-7280">
        <dgm:presLayoutVars>
          <dgm:chPref val="3"/>
        </dgm:presLayoutVars>
      </dgm:prSet>
      <dgm:spPr/>
    </dgm:pt>
    <dgm:pt modelId="{D8FC26CB-72A7-4E2F-A201-F28F11841DA8}" type="pres">
      <dgm:prSet presAssocID="{4D793E25-9924-492C-B00A-32F155E6050A}" presName="rootConnector" presStyleLbl="node4" presStyleIdx="11" presStyleCnt="19"/>
      <dgm:spPr/>
    </dgm:pt>
    <dgm:pt modelId="{668A6F47-67D9-43B5-A34A-5E43C24DFC0F}" type="pres">
      <dgm:prSet presAssocID="{4D793E25-9924-492C-B00A-32F155E6050A}" presName="hierChild4" presStyleCnt="0"/>
      <dgm:spPr/>
    </dgm:pt>
    <dgm:pt modelId="{2CE67411-D5FF-4332-A41B-0D2F8BDC1639}" type="pres">
      <dgm:prSet presAssocID="{4D793E25-9924-492C-B00A-32F155E6050A}" presName="hierChild5" presStyleCnt="0"/>
      <dgm:spPr/>
    </dgm:pt>
    <dgm:pt modelId="{281EE699-AAC5-4334-987D-753B1F4AC9A0}" type="pres">
      <dgm:prSet presAssocID="{D1805DA1-904F-4B00-AF8A-FF206D51C6A2}" presName="Name37" presStyleLbl="parChTrans1D4" presStyleIdx="12" presStyleCnt="19"/>
      <dgm:spPr/>
    </dgm:pt>
    <dgm:pt modelId="{95B9E142-D57D-4228-AF03-738B1632E56F}" type="pres">
      <dgm:prSet presAssocID="{761A1E22-8C8A-4152-B1C8-4F9F35F000B9}" presName="hierRoot2" presStyleCnt="0">
        <dgm:presLayoutVars>
          <dgm:hierBranch val="init"/>
        </dgm:presLayoutVars>
      </dgm:prSet>
      <dgm:spPr/>
    </dgm:pt>
    <dgm:pt modelId="{81E6054B-790D-4C44-8FD7-34D4BE71CA27}" type="pres">
      <dgm:prSet presAssocID="{761A1E22-8C8A-4152-B1C8-4F9F35F000B9}" presName="rootComposite" presStyleCnt="0"/>
      <dgm:spPr/>
    </dgm:pt>
    <dgm:pt modelId="{71B521A9-878F-41A1-8364-290A0A9B4615}" type="pres">
      <dgm:prSet presAssocID="{761A1E22-8C8A-4152-B1C8-4F9F35F000B9}" presName="rootText" presStyleLbl="node4" presStyleIdx="12" presStyleCnt="19" custLinFactNeighborY="-7280">
        <dgm:presLayoutVars>
          <dgm:chPref val="3"/>
        </dgm:presLayoutVars>
      </dgm:prSet>
      <dgm:spPr/>
    </dgm:pt>
    <dgm:pt modelId="{17B00065-1171-40DE-9B0F-689010D7168B}" type="pres">
      <dgm:prSet presAssocID="{761A1E22-8C8A-4152-B1C8-4F9F35F000B9}" presName="rootConnector" presStyleLbl="node4" presStyleIdx="12" presStyleCnt="19"/>
      <dgm:spPr/>
    </dgm:pt>
    <dgm:pt modelId="{404F5DF8-41AD-4139-99FE-8574824C2CB3}" type="pres">
      <dgm:prSet presAssocID="{761A1E22-8C8A-4152-B1C8-4F9F35F000B9}" presName="hierChild4" presStyleCnt="0"/>
      <dgm:spPr/>
    </dgm:pt>
    <dgm:pt modelId="{6470222A-F503-4C23-9548-A2136684682A}" type="pres">
      <dgm:prSet presAssocID="{761A1E22-8C8A-4152-B1C8-4F9F35F000B9}" presName="hierChild5" presStyleCnt="0"/>
      <dgm:spPr/>
    </dgm:pt>
    <dgm:pt modelId="{609D9515-FD68-488F-BAB0-2D65B595BA72}" type="pres">
      <dgm:prSet presAssocID="{0CF47565-496B-452B-A332-F8123452058B}" presName="Name37" presStyleLbl="parChTrans1D4" presStyleIdx="13" presStyleCnt="19"/>
      <dgm:spPr/>
    </dgm:pt>
    <dgm:pt modelId="{98C5906E-33D2-46DE-9D4E-97B6C073748D}" type="pres">
      <dgm:prSet presAssocID="{25EF0883-7505-481B-9361-6A17544145A1}" presName="hierRoot2" presStyleCnt="0">
        <dgm:presLayoutVars>
          <dgm:hierBranch val="init"/>
        </dgm:presLayoutVars>
      </dgm:prSet>
      <dgm:spPr/>
    </dgm:pt>
    <dgm:pt modelId="{BEA75AD3-7E2F-4F0F-B610-5F51985F5B4D}" type="pres">
      <dgm:prSet presAssocID="{25EF0883-7505-481B-9361-6A17544145A1}" presName="rootComposite" presStyleCnt="0"/>
      <dgm:spPr/>
    </dgm:pt>
    <dgm:pt modelId="{FB709349-E6D3-41D4-81B7-0F67304A6EFE}" type="pres">
      <dgm:prSet presAssocID="{25EF0883-7505-481B-9361-6A17544145A1}" presName="rootText" presStyleLbl="node4" presStyleIdx="13" presStyleCnt="19" custLinFactNeighborY="-7280">
        <dgm:presLayoutVars>
          <dgm:chPref val="3"/>
        </dgm:presLayoutVars>
      </dgm:prSet>
      <dgm:spPr/>
    </dgm:pt>
    <dgm:pt modelId="{790C1FBB-4319-4B98-A874-713788B861D2}" type="pres">
      <dgm:prSet presAssocID="{25EF0883-7505-481B-9361-6A17544145A1}" presName="rootConnector" presStyleLbl="node4" presStyleIdx="13" presStyleCnt="19"/>
      <dgm:spPr/>
    </dgm:pt>
    <dgm:pt modelId="{5647D0D9-2DCD-45ED-9A48-FD61173D6EB6}" type="pres">
      <dgm:prSet presAssocID="{25EF0883-7505-481B-9361-6A17544145A1}" presName="hierChild4" presStyleCnt="0"/>
      <dgm:spPr/>
    </dgm:pt>
    <dgm:pt modelId="{12F11F38-F95D-4B7E-BBAA-E023980C9456}" type="pres">
      <dgm:prSet presAssocID="{25EF0883-7505-481B-9361-6A17544145A1}" presName="hierChild5" presStyleCnt="0"/>
      <dgm:spPr/>
    </dgm:pt>
    <dgm:pt modelId="{CB2A7D91-AEA7-4DBA-86ED-7C04CF0853E4}" type="pres">
      <dgm:prSet presAssocID="{3A71DE44-A883-452F-BD5C-5C1232AFF38F}" presName="Name37" presStyleLbl="parChTrans1D4" presStyleIdx="14" presStyleCnt="19"/>
      <dgm:spPr/>
    </dgm:pt>
    <dgm:pt modelId="{194B7055-162D-4894-BCA3-85D7093BB6A5}" type="pres">
      <dgm:prSet presAssocID="{A7195517-ECE8-4D75-B284-DD7FC3A1C483}" presName="hierRoot2" presStyleCnt="0">
        <dgm:presLayoutVars>
          <dgm:hierBranch val="init"/>
        </dgm:presLayoutVars>
      </dgm:prSet>
      <dgm:spPr/>
    </dgm:pt>
    <dgm:pt modelId="{F6E77B86-AA89-46C4-B178-D940D581777E}" type="pres">
      <dgm:prSet presAssocID="{A7195517-ECE8-4D75-B284-DD7FC3A1C483}" presName="rootComposite" presStyleCnt="0"/>
      <dgm:spPr/>
    </dgm:pt>
    <dgm:pt modelId="{A588C842-F20A-4AA8-85DA-6ACC4DA2A93E}" type="pres">
      <dgm:prSet presAssocID="{A7195517-ECE8-4D75-B284-DD7FC3A1C483}" presName="rootText" presStyleLbl="node4" presStyleIdx="14" presStyleCnt="19" custLinFactNeighborY="-7280">
        <dgm:presLayoutVars>
          <dgm:chPref val="3"/>
        </dgm:presLayoutVars>
      </dgm:prSet>
      <dgm:spPr/>
    </dgm:pt>
    <dgm:pt modelId="{FA714205-4B82-446D-B68E-7F652DFBEEDA}" type="pres">
      <dgm:prSet presAssocID="{A7195517-ECE8-4D75-B284-DD7FC3A1C483}" presName="rootConnector" presStyleLbl="node4" presStyleIdx="14" presStyleCnt="19"/>
      <dgm:spPr/>
    </dgm:pt>
    <dgm:pt modelId="{254E1AFD-68D8-4CBA-BAAB-6F6D0100BF33}" type="pres">
      <dgm:prSet presAssocID="{A7195517-ECE8-4D75-B284-DD7FC3A1C483}" presName="hierChild4" presStyleCnt="0"/>
      <dgm:spPr/>
    </dgm:pt>
    <dgm:pt modelId="{CFC8C733-7AB4-49EB-BB58-6B6F51F07E9E}" type="pres">
      <dgm:prSet presAssocID="{A7195517-ECE8-4D75-B284-DD7FC3A1C483}" presName="hierChild5" presStyleCnt="0"/>
      <dgm:spPr/>
    </dgm:pt>
    <dgm:pt modelId="{110A4BBE-9AD3-4F88-805A-74C44471A4C4}" type="pres">
      <dgm:prSet presAssocID="{82AAA354-A7CE-4AB1-99AB-2B651718BBA4}" presName="hierChild5" presStyleCnt="0"/>
      <dgm:spPr/>
    </dgm:pt>
    <dgm:pt modelId="{7BA5241B-B7BC-41D5-A4B6-BA92111D315F}" type="pres">
      <dgm:prSet presAssocID="{C3907856-EB3C-408D-9DFE-CF514D31CB1C}" presName="Name37" presStyleLbl="parChTrans1D3" presStyleIdx="3" presStyleCnt="10"/>
      <dgm:spPr/>
    </dgm:pt>
    <dgm:pt modelId="{F02CA21B-9BF1-4847-B602-7E3033591FB0}" type="pres">
      <dgm:prSet presAssocID="{A3FC52F2-F011-4737-8EB4-60558773279B}" presName="hierRoot2" presStyleCnt="0">
        <dgm:presLayoutVars>
          <dgm:hierBranch val="init"/>
        </dgm:presLayoutVars>
      </dgm:prSet>
      <dgm:spPr/>
    </dgm:pt>
    <dgm:pt modelId="{610B5BB3-81B4-4650-8FF6-B9772C012216}" type="pres">
      <dgm:prSet presAssocID="{A3FC52F2-F011-4737-8EB4-60558773279B}" presName="rootComposite" presStyleCnt="0"/>
      <dgm:spPr/>
    </dgm:pt>
    <dgm:pt modelId="{AFC578FC-B6A9-4C9D-AE35-14F58D2A2F77}" type="pres">
      <dgm:prSet presAssocID="{A3FC52F2-F011-4737-8EB4-60558773279B}" presName="rootText" presStyleLbl="node3" presStyleIdx="3" presStyleCnt="10">
        <dgm:presLayoutVars>
          <dgm:chPref val="3"/>
        </dgm:presLayoutVars>
      </dgm:prSet>
      <dgm:spPr/>
    </dgm:pt>
    <dgm:pt modelId="{35C3C7FB-1F8E-481E-829E-CA0E11A2D271}" type="pres">
      <dgm:prSet presAssocID="{A3FC52F2-F011-4737-8EB4-60558773279B}" presName="rootConnector" presStyleLbl="node3" presStyleIdx="3" presStyleCnt="10"/>
      <dgm:spPr/>
    </dgm:pt>
    <dgm:pt modelId="{B61ADD01-CAB2-4F58-9E94-92AC852C2E36}" type="pres">
      <dgm:prSet presAssocID="{A3FC52F2-F011-4737-8EB4-60558773279B}" presName="hierChild4" presStyleCnt="0"/>
      <dgm:spPr/>
    </dgm:pt>
    <dgm:pt modelId="{FBFD23C5-1602-4A2F-AD09-F68FE1E1AEEE}" type="pres">
      <dgm:prSet presAssocID="{0A82C860-67E9-4924-9DCF-FC0CBD8C5010}" presName="Name37" presStyleLbl="parChTrans1D4" presStyleIdx="15" presStyleCnt="19"/>
      <dgm:spPr/>
    </dgm:pt>
    <dgm:pt modelId="{F07F6452-B2BC-410B-8B64-CD15C5F817A3}" type="pres">
      <dgm:prSet presAssocID="{5EEA353E-AFC6-4F20-8D77-AD8593576011}" presName="hierRoot2" presStyleCnt="0">
        <dgm:presLayoutVars>
          <dgm:hierBranch val="init"/>
        </dgm:presLayoutVars>
      </dgm:prSet>
      <dgm:spPr/>
    </dgm:pt>
    <dgm:pt modelId="{B13BAC62-D2A4-4E47-837E-0012EA7255A2}" type="pres">
      <dgm:prSet presAssocID="{5EEA353E-AFC6-4F20-8D77-AD8593576011}" presName="rootComposite" presStyleCnt="0"/>
      <dgm:spPr/>
    </dgm:pt>
    <dgm:pt modelId="{10893535-E133-4731-B500-FBF09351815B}" type="pres">
      <dgm:prSet presAssocID="{5EEA353E-AFC6-4F20-8D77-AD8593576011}" presName="rootText" presStyleLbl="node4" presStyleIdx="15" presStyleCnt="19">
        <dgm:presLayoutVars>
          <dgm:chPref val="3"/>
        </dgm:presLayoutVars>
      </dgm:prSet>
      <dgm:spPr/>
    </dgm:pt>
    <dgm:pt modelId="{02FD715C-0AB6-451C-8869-4951DD781340}" type="pres">
      <dgm:prSet presAssocID="{5EEA353E-AFC6-4F20-8D77-AD8593576011}" presName="rootConnector" presStyleLbl="node4" presStyleIdx="15" presStyleCnt="19"/>
      <dgm:spPr/>
    </dgm:pt>
    <dgm:pt modelId="{29BD2C48-5DD0-4DA0-8A01-DEFBFD05A0DC}" type="pres">
      <dgm:prSet presAssocID="{5EEA353E-AFC6-4F20-8D77-AD8593576011}" presName="hierChild4" presStyleCnt="0"/>
      <dgm:spPr/>
    </dgm:pt>
    <dgm:pt modelId="{5E1CB73C-B68D-44C0-8942-A3C1E8734B65}" type="pres">
      <dgm:prSet presAssocID="{5EEA353E-AFC6-4F20-8D77-AD8593576011}" presName="hierChild5" presStyleCnt="0"/>
      <dgm:spPr/>
    </dgm:pt>
    <dgm:pt modelId="{88564183-0CC7-4C92-BE75-FB1FDE2DB88B}" type="pres">
      <dgm:prSet presAssocID="{CDC32E48-8470-4047-9C56-5574FF1AE61B}" presName="Name37" presStyleLbl="parChTrans1D4" presStyleIdx="16" presStyleCnt="19"/>
      <dgm:spPr/>
    </dgm:pt>
    <dgm:pt modelId="{B6322A0D-4E89-45E2-A6BE-BD8E4882D23F}" type="pres">
      <dgm:prSet presAssocID="{13E6143E-3AE3-4A1E-A16D-C96A8323BDC6}" presName="hierRoot2" presStyleCnt="0">
        <dgm:presLayoutVars>
          <dgm:hierBranch val="init"/>
        </dgm:presLayoutVars>
      </dgm:prSet>
      <dgm:spPr/>
    </dgm:pt>
    <dgm:pt modelId="{12897839-7BAC-4605-9AAA-19E700A97FE0}" type="pres">
      <dgm:prSet presAssocID="{13E6143E-3AE3-4A1E-A16D-C96A8323BDC6}" presName="rootComposite" presStyleCnt="0"/>
      <dgm:spPr/>
    </dgm:pt>
    <dgm:pt modelId="{CD140378-386D-4430-9B29-B12CE2D6642D}" type="pres">
      <dgm:prSet presAssocID="{13E6143E-3AE3-4A1E-A16D-C96A8323BDC6}" presName="rootText" presStyleLbl="node4" presStyleIdx="16" presStyleCnt="19">
        <dgm:presLayoutVars>
          <dgm:chPref val="3"/>
        </dgm:presLayoutVars>
      </dgm:prSet>
      <dgm:spPr/>
    </dgm:pt>
    <dgm:pt modelId="{9922B4C0-BC02-4390-A8A7-3FC24BEE6EB1}" type="pres">
      <dgm:prSet presAssocID="{13E6143E-3AE3-4A1E-A16D-C96A8323BDC6}" presName="rootConnector" presStyleLbl="node4" presStyleIdx="16" presStyleCnt="19"/>
      <dgm:spPr/>
    </dgm:pt>
    <dgm:pt modelId="{2B626E0D-4038-4F9C-B0CF-E811F620E6A5}" type="pres">
      <dgm:prSet presAssocID="{13E6143E-3AE3-4A1E-A16D-C96A8323BDC6}" presName="hierChild4" presStyleCnt="0"/>
      <dgm:spPr/>
    </dgm:pt>
    <dgm:pt modelId="{B0188713-7CA8-4818-AB97-7C0B2D09FF2D}" type="pres">
      <dgm:prSet presAssocID="{13E6143E-3AE3-4A1E-A16D-C96A8323BDC6}" presName="hierChild5" presStyleCnt="0"/>
      <dgm:spPr/>
    </dgm:pt>
    <dgm:pt modelId="{61797818-CEEC-4010-8640-642C09CE825D}" type="pres">
      <dgm:prSet presAssocID="{EDDC8BBC-3074-4EF4-B00B-26662A4D0006}" presName="Name37" presStyleLbl="parChTrans1D4" presStyleIdx="17" presStyleCnt="19"/>
      <dgm:spPr/>
    </dgm:pt>
    <dgm:pt modelId="{6052B995-86E7-417F-98C4-842F053A3C66}" type="pres">
      <dgm:prSet presAssocID="{BEC94471-A240-436D-A246-F2E4CBD2830E}" presName="hierRoot2" presStyleCnt="0">
        <dgm:presLayoutVars>
          <dgm:hierBranch val="init"/>
        </dgm:presLayoutVars>
      </dgm:prSet>
      <dgm:spPr/>
    </dgm:pt>
    <dgm:pt modelId="{2542807D-F24E-4088-851A-73705021F92E}" type="pres">
      <dgm:prSet presAssocID="{BEC94471-A240-436D-A246-F2E4CBD2830E}" presName="rootComposite" presStyleCnt="0"/>
      <dgm:spPr/>
    </dgm:pt>
    <dgm:pt modelId="{4E3B5942-48DC-4E61-A9E8-CBF6E9B1B977}" type="pres">
      <dgm:prSet presAssocID="{BEC94471-A240-436D-A246-F2E4CBD2830E}" presName="rootText" presStyleLbl="node4" presStyleIdx="17" presStyleCnt="19">
        <dgm:presLayoutVars>
          <dgm:chPref val="3"/>
        </dgm:presLayoutVars>
      </dgm:prSet>
      <dgm:spPr/>
    </dgm:pt>
    <dgm:pt modelId="{D1C6E5F2-957F-4A86-84F2-A5705BB91D62}" type="pres">
      <dgm:prSet presAssocID="{BEC94471-A240-436D-A246-F2E4CBD2830E}" presName="rootConnector" presStyleLbl="node4" presStyleIdx="17" presStyleCnt="19"/>
      <dgm:spPr/>
    </dgm:pt>
    <dgm:pt modelId="{1986724B-73DA-4153-AF4E-21046FE12271}" type="pres">
      <dgm:prSet presAssocID="{BEC94471-A240-436D-A246-F2E4CBD2830E}" presName="hierChild4" presStyleCnt="0"/>
      <dgm:spPr/>
    </dgm:pt>
    <dgm:pt modelId="{E54F4674-BDA0-4A27-9A2F-2327E8FB5042}" type="pres">
      <dgm:prSet presAssocID="{BEC94471-A240-436D-A246-F2E4CBD2830E}" presName="hierChild5" presStyleCnt="0"/>
      <dgm:spPr/>
    </dgm:pt>
    <dgm:pt modelId="{E5E98410-234D-44E6-98BF-7874D840463A}" type="pres">
      <dgm:prSet presAssocID="{F7DB04EC-4168-4743-9845-F6C1C690AAAC}" presName="Name37" presStyleLbl="parChTrans1D4" presStyleIdx="18" presStyleCnt="19"/>
      <dgm:spPr/>
    </dgm:pt>
    <dgm:pt modelId="{72B8C88F-27F8-4D35-A29D-6A25DC1FD0BA}" type="pres">
      <dgm:prSet presAssocID="{2AB31F72-6288-44D2-8072-2F3E8CA5E8E6}" presName="hierRoot2" presStyleCnt="0">
        <dgm:presLayoutVars>
          <dgm:hierBranch val="init"/>
        </dgm:presLayoutVars>
      </dgm:prSet>
      <dgm:spPr/>
    </dgm:pt>
    <dgm:pt modelId="{0D0ACDCE-850F-479A-A565-85F4BF3BDFF9}" type="pres">
      <dgm:prSet presAssocID="{2AB31F72-6288-44D2-8072-2F3E8CA5E8E6}" presName="rootComposite" presStyleCnt="0"/>
      <dgm:spPr/>
    </dgm:pt>
    <dgm:pt modelId="{1C01B158-6877-41F6-B07E-1C9B8910083F}" type="pres">
      <dgm:prSet presAssocID="{2AB31F72-6288-44D2-8072-2F3E8CA5E8E6}" presName="rootText" presStyleLbl="node4" presStyleIdx="18" presStyleCnt="19" custLinFactNeighborY="-7280">
        <dgm:presLayoutVars>
          <dgm:chPref val="3"/>
        </dgm:presLayoutVars>
      </dgm:prSet>
      <dgm:spPr/>
    </dgm:pt>
    <dgm:pt modelId="{557C00F6-D5CE-41A2-9D30-B1571F02F3F3}" type="pres">
      <dgm:prSet presAssocID="{2AB31F72-6288-44D2-8072-2F3E8CA5E8E6}" presName="rootConnector" presStyleLbl="node4" presStyleIdx="18" presStyleCnt="19"/>
      <dgm:spPr/>
    </dgm:pt>
    <dgm:pt modelId="{4D237B38-E05F-4F82-9D23-0DC80F257684}" type="pres">
      <dgm:prSet presAssocID="{2AB31F72-6288-44D2-8072-2F3E8CA5E8E6}" presName="hierChild4" presStyleCnt="0"/>
      <dgm:spPr/>
    </dgm:pt>
    <dgm:pt modelId="{B85E4D0E-C449-443B-BDCC-FF6086E043F4}" type="pres">
      <dgm:prSet presAssocID="{2AB31F72-6288-44D2-8072-2F3E8CA5E8E6}" presName="hierChild5" presStyleCnt="0"/>
      <dgm:spPr/>
    </dgm:pt>
    <dgm:pt modelId="{66BD66DD-91D0-4B6A-9A3F-0FF66E38C459}" type="pres">
      <dgm:prSet presAssocID="{A3FC52F2-F011-4737-8EB4-60558773279B}" presName="hierChild5" presStyleCnt="0"/>
      <dgm:spPr/>
    </dgm:pt>
    <dgm:pt modelId="{B3E393F5-FE99-47D6-B42A-2E679DAAB0C6}" type="pres">
      <dgm:prSet presAssocID="{CEFE54B5-1BF0-40D8-A238-41A7896496D8}" presName="hierChild5" presStyleCnt="0"/>
      <dgm:spPr/>
    </dgm:pt>
    <dgm:pt modelId="{0233A6CF-7EEC-421E-B96A-C07F48BA9812}" type="pres">
      <dgm:prSet presAssocID="{BF5C762F-4D22-40BD-8AE4-E35CCF8A132F}" presName="Name37" presStyleLbl="parChTrans1D2" presStyleIdx="2" presStyleCnt="4"/>
      <dgm:spPr/>
    </dgm:pt>
    <dgm:pt modelId="{81237E68-2254-43FC-87BC-1A4334CA33CE}" type="pres">
      <dgm:prSet presAssocID="{F5DE6F64-4035-4C49-91ED-DBDC64A915A2}" presName="hierRoot2" presStyleCnt="0">
        <dgm:presLayoutVars>
          <dgm:hierBranch val="init"/>
        </dgm:presLayoutVars>
      </dgm:prSet>
      <dgm:spPr/>
    </dgm:pt>
    <dgm:pt modelId="{0995D70B-1346-4E84-8320-BF3BDF64306A}" type="pres">
      <dgm:prSet presAssocID="{F5DE6F64-4035-4C49-91ED-DBDC64A915A2}" presName="rootComposite" presStyleCnt="0"/>
      <dgm:spPr/>
    </dgm:pt>
    <dgm:pt modelId="{6C266D4A-78B1-4036-AB88-E9116B80F397}" type="pres">
      <dgm:prSet presAssocID="{F5DE6F64-4035-4C49-91ED-DBDC64A915A2}" presName="rootText" presStyleLbl="node2" presStyleIdx="2" presStyleCnt="3">
        <dgm:presLayoutVars>
          <dgm:chPref val="3"/>
        </dgm:presLayoutVars>
      </dgm:prSet>
      <dgm:spPr/>
    </dgm:pt>
    <dgm:pt modelId="{A6D3E597-B372-44EB-913D-AEF1C0E233C2}" type="pres">
      <dgm:prSet presAssocID="{F5DE6F64-4035-4C49-91ED-DBDC64A915A2}" presName="rootConnector" presStyleLbl="node2" presStyleIdx="2" presStyleCnt="3"/>
      <dgm:spPr/>
    </dgm:pt>
    <dgm:pt modelId="{762F1E0C-E6C9-49C2-96E1-3368567F5E9C}" type="pres">
      <dgm:prSet presAssocID="{F5DE6F64-4035-4C49-91ED-DBDC64A915A2}" presName="hierChild4" presStyleCnt="0"/>
      <dgm:spPr/>
    </dgm:pt>
    <dgm:pt modelId="{86EB517E-8780-471C-8102-499D33B80674}" type="pres">
      <dgm:prSet presAssocID="{5C1CF0E1-7916-450B-A0FF-4CA85C5ED7EA}" presName="Name37" presStyleLbl="parChTrans1D3" presStyleIdx="4" presStyleCnt="10"/>
      <dgm:spPr/>
    </dgm:pt>
    <dgm:pt modelId="{7092525B-A1E0-4E47-8384-E42FD27CC141}" type="pres">
      <dgm:prSet presAssocID="{C66D396A-52B6-478C-B884-1DBFC4CE376D}" presName="hierRoot2" presStyleCnt="0">
        <dgm:presLayoutVars>
          <dgm:hierBranch val="init"/>
        </dgm:presLayoutVars>
      </dgm:prSet>
      <dgm:spPr/>
    </dgm:pt>
    <dgm:pt modelId="{E6406CD0-727F-424A-A956-8910D9FF62D0}" type="pres">
      <dgm:prSet presAssocID="{C66D396A-52B6-478C-B884-1DBFC4CE376D}" presName="rootComposite" presStyleCnt="0"/>
      <dgm:spPr/>
    </dgm:pt>
    <dgm:pt modelId="{598822A9-D11F-468E-902B-653E43C8F350}" type="pres">
      <dgm:prSet presAssocID="{C66D396A-52B6-478C-B884-1DBFC4CE376D}" presName="rootText" presStyleLbl="node3" presStyleIdx="4" presStyleCnt="10">
        <dgm:presLayoutVars>
          <dgm:chPref val="3"/>
        </dgm:presLayoutVars>
      </dgm:prSet>
      <dgm:spPr/>
    </dgm:pt>
    <dgm:pt modelId="{79E89AB2-E921-4A28-B05A-FD9DD9413433}" type="pres">
      <dgm:prSet presAssocID="{C66D396A-52B6-478C-B884-1DBFC4CE376D}" presName="rootConnector" presStyleLbl="node3" presStyleIdx="4" presStyleCnt="10"/>
      <dgm:spPr/>
    </dgm:pt>
    <dgm:pt modelId="{BAA2F27D-34D5-4D0C-92EA-B5D7EE2765B2}" type="pres">
      <dgm:prSet presAssocID="{C66D396A-52B6-478C-B884-1DBFC4CE376D}" presName="hierChild4" presStyleCnt="0"/>
      <dgm:spPr/>
    </dgm:pt>
    <dgm:pt modelId="{79C2922B-1375-4D4F-B050-BC1243B3247A}" type="pres">
      <dgm:prSet presAssocID="{C66D396A-52B6-478C-B884-1DBFC4CE376D}" presName="hierChild5" presStyleCnt="0"/>
      <dgm:spPr/>
    </dgm:pt>
    <dgm:pt modelId="{3B2A522E-5891-4F6C-BB0A-E1D990A97860}" type="pres">
      <dgm:prSet presAssocID="{847D2A0D-6F08-40CD-860D-C73DC592C369}" presName="Name37" presStyleLbl="parChTrans1D3" presStyleIdx="5" presStyleCnt="10"/>
      <dgm:spPr/>
    </dgm:pt>
    <dgm:pt modelId="{EACA780F-1725-4878-BFB9-765D2B72C431}" type="pres">
      <dgm:prSet presAssocID="{263E18CE-90B2-4143-B0A4-0A61C5034AB5}" presName="hierRoot2" presStyleCnt="0">
        <dgm:presLayoutVars>
          <dgm:hierBranch val="init"/>
        </dgm:presLayoutVars>
      </dgm:prSet>
      <dgm:spPr/>
    </dgm:pt>
    <dgm:pt modelId="{CDE72F1A-8929-4C3F-BBC9-B047AC2F753F}" type="pres">
      <dgm:prSet presAssocID="{263E18CE-90B2-4143-B0A4-0A61C5034AB5}" presName="rootComposite" presStyleCnt="0"/>
      <dgm:spPr/>
    </dgm:pt>
    <dgm:pt modelId="{CE224A0D-43AA-455F-9D2C-3C9C2764F1E9}" type="pres">
      <dgm:prSet presAssocID="{263E18CE-90B2-4143-B0A4-0A61C5034AB5}" presName="rootText" presStyleLbl="node3" presStyleIdx="5" presStyleCnt="10">
        <dgm:presLayoutVars>
          <dgm:chPref val="3"/>
        </dgm:presLayoutVars>
      </dgm:prSet>
      <dgm:spPr/>
    </dgm:pt>
    <dgm:pt modelId="{48D2DCF3-435B-475C-87D6-04CD8FBF9EC5}" type="pres">
      <dgm:prSet presAssocID="{263E18CE-90B2-4143-B0A4-0A61C5034AB5}" presName="rootConnector" presStyleLbl="node3" presStyleIdx="5" presStyleCnt="10"/>
      <dgm:spPr/>
    </dgm:pt>
    <dgm:pt modelId="{AAE7185E-524F-4B64-B1F5-9248FF080FA5}" type="pres">
      <dgm:prSet presAssocID="{263E18CE-90B2-4143-B0A4-0A61C5034AB5}" presName="hierChild4" presStyleCnt="0"/>
      <dgm:spPr/>
    </dgm:pt>
    <dgm:pt modelId="{293ABE9B-3FA0-450B-8255-BB2C47935E42}" type="pres">
      <dgm:prSet presAssocID="{263E18CE-90B2-4143-B0A4-0A61C5034AB5}" presName="hierChild5" presStyleCnt="0"/>
      <dgm:spPr/>
    </dgm:pt>
    <dgm:pt modelId="{7AA3DD88-1C13-41B6-B7C8-797212C90F7F}" type="pres">
      <dgm:prSet presAssocID="{FD49C565-8A7F-4D65-A023-AEEAA36FAC8E}" presName="Name37" presStyleLbl="parChTrans1D3" presStyleIdx="6" presStyleCnt="10"/>
      <dgm:spPr/>
    </dgm:pt>
    <dgm:pt modelId="{59AC0021-DF9C-4CF6-9B5F-7140D25B396E}" type="pres">
      <dgm:prSet presAssocID="{8D441C1A-54DF-46A1-B10F-0988E9FDD38C}" presName="hierRoot2" presStyleCnt="0">
        <dgm:presLayoutVars>
          <dgm:hierBranch val="init"/>
        </dgm:presLayoutVars>
      </dgm:prSet>
      <dgm:spPr/>
    </dgm:pt>
    <dgm:pt modelId="{87DF2AF3-F200-4A91-9739-F50BC1D6E8D2}" type="pres">
      <dgm:prSet presAssocID="{8D441C1A-54DF-46A1-B10F-0988E9FDD38C}" presName="rootComposite" presStyleCnt="0"/>
      <dgm:spPr/>
    </dgm:pt>
    <dgm:pt modelId="{B2F3286D-6314-4C55-9A76-09789B63FCF7}" type="pres">
      <dgm:prSet presAssocID="{8D441C1A-54DF-46A1-B10F-0988E9FDD38C}" presName="rootText" presStyleLbl="node3" presStyleIdx="6" presStyleCnt="10">
        <dgm:presLayoutVars>
          <dgm:chPref val="3"/>
        </dgm:presLayoutVars>
      </dgm:prSet>
      <dgm:spPr/>
    </dgm:pt>
    <dgm:pt modelId="{4C66B3C9-7FDC-4B1E-B8AF-BDC7530C94F9}" type="pres">
      <dgm:prSet presAssocID="{8D441C1A-54DF-46A1-B10F-0988E9FDD38C}" presName="rootConnector" presStyleLbl="node3" presStyleIdx="6" presStyleCnt="10"/>
      <dgm:spPr/>
    </dgm:pt>
    <dgm:pt modelId="{32C3C0AD-3D01-4C3B-9516-CFF2144CD3CE}" type="pres">
      <dgm:prSet presAssocID="{8D441C1A-54DF-46A1-B10F-0988E9FDD38C}" presName="hierChild4" presStyleCnt="0"/>
      <dgm:spPr/>
    </dgm:pt>
    <dgm:pt modelId="{B8C64B9E-DDAC-4BED-A395-C9787218D222}" type="pres">
      <dgm:prSet presAssocID="{8D441C1A-54DF-46A1-B10F-0988E9FDD38C}" presName="hierChild5" presStyleCnt="0"/>
      <dgm:spPr/>
    </dgm:pt>
    <dgm:pt modelId="{4E58DDE5-54BC-4CD1-9E87-D9E79F76CDF5}" type="pres">
      <dgm:prSet presAssocID="{A89F45FC-190E-43B3-89E2-9F073C630106}" presName="Name37" presStyleLbl="parChTrans1D3" presStyleIdx="7" presStyleCnt="10"/>
      <dgm:spPr/>
    </dgm:pt>
    <dgm:pt modelId="{8AC1D643-C806-4AE2-876A-6B5A045A68D4}" type="pres">
      <dgm:prSet presAssocID="{275138D2-C73E-447C-AFE2-513D1B0EF955}" presName="hierRoot2" presStyleCnt="0">
        <dgm:presLayoutVars>
          <dgm:hierBranch val="init"/>
        </dgm:presLayoutVars>
      </dgm:prSet>
      <dgm:spPr/>
    </dgm:pt>
    <dgm:pt modelId="{086709CE-2AA3-4577-A109-FD0767306BE3}" type="pres">
      <dgm:prSet presAssocID="{275138D2-C73E-447C-AFE2-513D1B0EF955}" presName="rootComposite" presStyleCnt="0"/>
      <dgm:spPr/>
    </dgm:pt>
    <dgm:pt modelId="{B74760F0-5447-4F80-8917-F4BB9755915B}" type="pres">
      <dgm:prSet presAssocID="{275138D2-C73E-447C-AFE2-513D1B0EF955}" presName="rootText" presStyleLbl="node3" presStyleIdx="7" presStyleCnt="10">
        <dgm:presLayoutVars>
          <dgm:chPref val="3"/>
        </dgm:presLayoutVars>
      </dgm:prSet>
      <dgm:spPr/>
    </dgm:pt>
    <dgm:pt modelId="{4F1E668C-C00C-4FE4-B512-56C433D3CB9E}" type="pres">
      <dgm:prSet presAssocID="{275138D2-C73E-447C-AFE2-513D1B0EF955}" presName="rootConnector" presStyleLbl="node3" presStyleIdx="7" presStyleCnt="10"/>
      <dgm:spPr/>
    </dgm:pt>
    <dgm:pt modelId="{1EFE4CD9-0285-45FB-9A91-4A5C3BBF6431}" type="pres">
      <dgm:prSet presAssocID="{275138D2-C73E-447C-AFE2-513D1B0EF955}" presName="hierChild4" presStyleCnt="0"/>
      <dgm:spPr/>
    </dgm:pt>
    <dgm:pt modelId="{D0E1B0EC-5F7B-46F8-9CBB-8A652254BB59}" type="pres">
      <dgm:prSet presAssocID="{275138D2-C73E-447C-AFE2-513D1B0EF955}" presName="hierChild5" presStyleCnt="0"/>
      <dgm:spPr/>
    </dgm:pt>
    <dgm:pt modelId="{A6484312-1201-487E-B86F-C0163B4E5533}" type="pres">
      <dgm:prSet presAssocID="{99F1142D-7578-41B4-AE54-808D802EAC2A}" presName="Name37" presStyleLbl="parChTrans1D3" presStyleIdx="8" presStyleCnt="10"/>
      <dgm:spPr/>
    </dgm:pt>
    <dgm:pt modelId="{D8F1815C-7867-4829-8067-117CAA09F261}" type="pres">
      <dgm:prSet presAssocID="{64F8D4FA-D3D5-41E7-B1F3-2788F0F14152}" presName="hierRoot2" presStyleCnt="0">
        <dgm:presLayoutVars>
          <dgm:hierBranch val="init"/>
        </dgm:presLayoutVars>
      </dgm:prSet>
      <dgm:spPr/>
    </dgm:pt>
    <dgm:pt modelId="{8EC3F3ED-FEE6-4093-9818-56F7B84FE041}" type="pres">
      <dgm:prSet presAssocID="{64F8D4FA-D3D5-41E7-B1F3-2788F0F14152}" presName="rootComposite" presStyleCnt="0"/>
      <dgm:spPr/>
    </dgm:pt>
    <dgm:pt modelId="{22C7789E-B272-4396-A366-A25D432E37B3}" type="pres">
      <dgm:prSet presAssocID="{64F8D4FA-D3D5-41E7-B1F3-2788F0F14152}" presName="rootText" presStyleLbl="node3" presStyleIdx="8" presStyleCnt="10">
        <dgm:presLayoutVars>
          <dgm:chPref val="3"/>
        </dgm:presLayoutVars>
      </dgm:prSet>
      <dgm:spPr/>
    </dgm:pt>
    <dgm:pt modelId="{A9A3C5A9-FE69-40F0-9426-F993BD8D7237}" type="pres">
      <dgm:prSet presAssocID="{64F8D4FA-D3D5-41E7-B1F3-2788F0F14152}" presName="rootConnector" presStyleLbl="node3" presStyleIdx="8" presStyleCnt="10"/>
      <dgm:spPr/>
    </dgm:pt>
    <dgm:pt modelId="{49232A68-2265-4C81-A05D-A412D3E01A95}" type="pres">
      <dgm:prSet presAssocID="{64F8D4FA-D3D5-41E7-B1F3-2788F0F14152}" presName="hierChild4" presStyleCnt="0"/>
      <dgm:spPr/>
    </dgm:pt>
    <dgm:pt modelId="{F007BF52-0132-4E61-AE78-D1A29CA46E6B}" type="pres">
      <dgm:prSet presAssocID="{64F8D4FA-D3D5-41E7-B1F3-2788F0F14152}" presName="hierChild5" presStyleCnt="0"/>
      <dgm:spPr/>
    </dgm:pt>
    <dgm:pt modelId="{684DFB6B-DEBE-4C4E-9C15-634DC6FF72DC}" type="pres">
      <dgm:prSet presAssocID="{29415E4A-C737-48DB-A75A-06C6A7C1C097}" presName="Name37" presStyleLbl="parChTrans1D3" presStyleIdx="9" presStyleCnt="10"/>
      <dgm:spPr/>
    </dgm:pt>
    <dgm:pt modelId="{6C6E040F-058B-4D41-8271-BA5C6BFA47A9}" type="pres">
      <dgm:prSet presAssocID="{732D6DDE-1958-4080-B9C5-8822189E6B58}" presName="hierRoot2" presStyleCnt="0">
        <dgm:presLayoutVars>
          <dgm:hierBranch val="init"/>
        </dgm:presLayoutVars>
      </dgm:prSet>
      <dgm:spPr/>
    </dgm:pt>
    <dgm:pt modelId="{759A52B3-F208-41B0-9AA7-7EA46B036E37}" type="pres">
      <dgm:prSet presAssocID="{732D6DDE-1958-4080-B9C5-8822189E6B58}" presName="rootComposite" presStyleCnt="0"/>
      <dgm:spPr/>
    </dgm:pt>
    <dgm:pt modelId="{FBCFADAA-2BD5-4483-9174-AACD66D45251}" type="pres">
      <dgm:prSet presAssocID="{732D6DDE-1958-4080-B9C5-8822189E6B58}" presName="rootText" presStyleLbl="node3" presStyleIdx="9" presStyleCnt="10">
        <dgm:presLayoutVars>
          <dgm:chPref val="3"/>
        </dgm:presLayoutVars>
      </dgm:prSet>
      <dgm:spPr/>
    </dgm:pt>
    <dgm:pt modelId="{FA385A78-7FD4-4B85-B877-83B5CBB0AFC4}" type="pres">
      <dgm:prSet presAssocID="{732D6DDE-1958-4080-B9C5-8822189E6B58}" presName="rootConnector" presStyleLbl="node3" presStyleIdx="9" presStyleCnt="10"/>
      <dgm:spPr/>
    </dgm:pt>
    <dgm:pt modelId="{82D56480-4645-4DFF-BF27-6643A660445F}" type="pres">
      <dgm:prSet presAssocID="{732D6DDE-1958-4080-B9C5-8822189E6B58}" presName="hierChild4" presStyleCnt="0"/>
      <dgm:spPr/>
    </dgm:pt>
    <dgm:pt modelId="{7DF6314E-59A7-40C5-92F6-5E6F31EB6C73}" type="pres">
      <dgm:prSet presAssocID="{732D6DDE-1958-4080-B9C5-8822189E6B58}" presName="hierChild5" presStyleCnt="0"/>
      <dgm:spPr/>
    </dgm:pt>
    <dgm:pt modelId="{867BE2E5-215B-44BF-9DB2-87AB42A66253}" type="pres">
      <dgm:prSet presAssocID="{F5DE6F64-4035-4C49-91ED-DBDC64A915A2}" presName="hierChild5" presStyleCnt="0"/>
      <dgm:spPr/>
    </dgm:pt>
    <dgm:pt modelId="{B24C8AA9-630E-4D93-A342-36690E306F0A}" type="pres">
      <dgm:prSet presAssocID="{6E006925-3003-4720-8633-AD5D2DB96A2A}" presName="hierChild3" presStyleCnt="0"/>
      <dgm:spPr/>
    </dgm:pt>
    <dgm:pt modelId="{46B384E3-8F9D-4901-93EC-34519CFF5CE3}" type="pres">
      <dgm:prSet presAssocID="{AF9FB500-0E51-409F-A2B0-75F5C91B0C36}" presName="Name111" presStyleLbl="parChTrans1D2" presStyleIdx="3" presStyleCnt="4"/>
      <dgm:spPr/>
    </dgm:pt>
    <dgm:pt modelId="{6C38D05C-4675-4487-8221-B168B695F2C3}" type="pres">
      <dgm:prSet presAssocID="{ADB61A74-EFE7-4172-BA5C-70A4B558052A}" presName="hierRoot3" presStyleCnt="0">
        <dgm:presLayoutVars>
          <dgm:hierBranch val="init"/>
        </dgm:presLayoutVars>
      </dgm:prSet>
      <dgm:spPr/>
    </dgm:pt>
    <dgm:pt modelId="{D894060B-1EFD-4D66-9A22-B13F9C9CE234}" type="pres">
      <dgm:prSet presAssocID="{ADB61A74-EFE7-4172-BA5C-70A4B558052A}" presName="rootComposite3" presStyleCnt="0"/>
      <dgm:spPr/>
    </dgm:pt>
    <dgm:pt modelId="{1C12DD44-043B-4530-9317-8D28108F765D}" type="pres">
      <dgm:prSet presAssocID="{ADB61A74-EFE7-4172-BA5C-70A4B558052A}" presName="rootText3" presStyleLbl="asst0" presStyleIdx="0" presStyleCnt="1">
        <dgm:presLayoutVars>
          <dgm:chPref val="3"/>
        </dgm:presLayoutVars>
      </dgm:prSet>
      <dgm:spPr/>
    </dgm:pt>
    <dgm:pt modelId="{EFC0F94C-067B-454A-9912-6B3C8383AEFF}" type="pres">
      <dgm:prSet presAssocID="{ADB61A74-EFE7-4172-BA5C-70A4B558052A}" presName="rootConnector3" presStyleLbl="asst0" presStyleIdx="0" presStyleCnt="1"/>
      <dgm:spPr/>
    </dgm:pt>
    <dgm:pt modelId="{C804D17F-DFA6-4F2F-B395-B143DD04DA74}" type="pres">
      <dgm:prSet presAssocID="{ADB61A74-EFE7-4172-BA5C-70A4B558052A}" presName="hierChild6" presStyleCnt="0"/>
      <dgm:spPr/>
    </dgm:pt>
    <dgm:pt modelId="{4F4B3A61-0F36-4640-8899-EBEE34202B44}" type="pres">
      <dgm:prSet presAssocID="{ADB61A74-EFE7-4172-BA5C-70A4B558052A}" presName="hierChild7" presStyleCnt="0"/>
      <dgm:spPr/>
    </dgm:pt>
  </dgm:ptLst>
  <dgm:cxnLst>
    <dgm:cxn modelId="{2B81FB00-7227-4D2A-9F6E-EC2BBC8BF543}" type="presOf" srcId="{64F8D4FA-D3D5-41E7-B1F3-2788F0F14152}" destId="{22C7789E-B272-4396-A366-A25D432E37B3}" srcOrd="0" destOrd="0" presId="urn:microsoft.com/office/officeart/2005/8/layout/orgChart1"/>
    <dgm:cxn modelId="{D8B8A409-8ED0-494D-8A21-8E5A5EB17C3F}" type="presOf" srcId="{EF832AFC-3F8E-4FC2-A2C2-34B65B63776D}" destId="{1D702F36-EFBC-4D33-AFBB-22A512C7F89A}" srcOrd="0" destOrd="0" presId="urn:microsoft.com/office/officeart/2005/8/layout/orgChart1"/>
    <dgm:cxn modelId="{3660AC0C-FA50-4166-A6A7-4FAE05B88878}" type="presOf" srcId="{A3FC52F2-F011-4737-8EB4-60558773279B}" destId="{35C3C7FB-1F8E-481E-829E-CA0E11A2D271}" srcOrd="1" destOrd="0" presId="urn:microsoft.com/office/officeart/2005/8/layout/orgChart1"/>
    <dgm:cxn modelId="{C26A1C10-6734-4D51-8250-95D2086E8F98}" srcId="{A3FC52F2-F011-4737-8EB4-60558773279B}" destId="{5EEA353E-AFC6-4F20-8D77-AD8593576011}" srcOrd="0" destOrd="0" parTransId="{0A82C860-67E9-4924-9DCF-FC0CBD8C5010}" sibTransId="{76204006-F138-4849-BD32-33E51A67180B}"/>
    <dgm:cxn modelId="{BF495210-8B37-445F-B783-592B583BCFB6}" type="presOf" srcId="{3A71DE44-A883-452F-BD5C-5C1232AFF38F}" destId="{CB2A7D91-AEA7-4DBA-86ED-7C04CF0853E4}" srcOrd="0" destOrd="0" presId="urn:microsoft.com/office/officeart/2005/8/layout/orgChart1"/>
    <dgm:cxn modelId="{C1408012-C21A-4D4F-993D-9BC46D1F7099}" srcId="{A3FC52F2-F011-4737-8EB4-60558773279B}" destId="{BEC94471-A240-436D-A246-F2E4CBD2830E}" srcOrd="2" destOrd="0" parTransId="{EDDC8BBC-3074-4EF4-B00B-26662A4D0006}" sibTransId="{D1AF9D87-F41C-4F02-8D79-59C384796391}"/>
    <dgm:cxn modelId="{55630914-A40B-49F1-A63E-54EF1A128258}" type="presOf" srcId="{30F82C44-F97D-491F-8381-068EEDDCD21B}" destId="{6C59BE90-8A13-4704-9367-E91AC7A75F0B}" srcOrd="0" destOrd="0" presId="urn:microsoft.com/office/officeart/2005/8/layout/orgChart1"/>
    <dgm:cxn modelId="{2BD90515-9E6E-47BB-938D-A8BCD78F4E96}" type="presOf" srcId="{6FDAC7CE-C7EF-40C3-B712-A3202A457CEF}" destId="{9438E796-ECFF-45AF-BDAD-F51F38B80D1A}" srcOrd="1" destOrd="0" presId="urn:microsoft.com/office/officeart/2005/8/layout/orgChart1"/>
    <dgm:cxn modelId="{9B8E1215-75FE-4771-B777-6E3F63BE7DE4}" type="presOf" srcId="{25EF0883-7505-481B-9361-6A17544145A1}" destId="{FB709349-E6D3-41D4-81B7-0F67304A6EFE}" srcOrd="0" destOrd="0" presId="urn:microsoft.com/office/officeart/2005/8/layout/orgChart1"/>
    <dgm:cxn modelId="{05102416-4C6F-424A-975D-53E3915ACE39}" type="presOf" srcId="{EDDC8BBC-3074-4EF4-B00B-26662A4D0006}" destId="{61797818-CEEC-4010-8640-642C09CE825D}" srcOrd="0" destOrd="0" presId="urn:microsoft.com/office/officeart/2005/8/layout/orgChart1"/>
    <dgm:cxn modelId="{B380B019-EDF2-4A2D-B6F2-E0D096953D8C}" type="presOf" srcId="{263E18CE-90B2-4143-B0A4-0A61C5034AB5}" destId="{CE224A0D-43AA-455F-9D2C-3C9C2764F1E9}" srcOrd="0" destOrd="0" presId="urn:microsoft.com/office/officeart/2005/8/layout/orgChart1"/>
    <dgm:cxn modelId="{3E9FAA1A-E6BD-4223-B62E-9A9572A6ADC9}" type="presOf" srcId="{29415E4A-C737-48DB-A75A-06C6A7C1C097}" destId="{684DFB6B-DEBE-4C4E-9C15-634DC6FF72DC}" srcOrd="0" destOrd="0" presId="urn:microsoft.com/office/officeart/2005/8/layout/orgChart1"/>
    <dgm:cxn modelId="{A43FB81B-604F-4EBE-ACD7-1CA7C4D65BAD}" type="presOf" srcId="{039FA459-9C06-468E-B1F7-E5A82D5411B4}" destId="{A35E73FB-957F-43C2-897A-B1C7D473680F}" srcOrd="1" destOrd="0" presId="urn:microsoft.com/office/officeart/2005/8/layout/orgChart1"/>
    <dgm:cxn modelId="{00C70B1C-7510-43CF-8640-5CE5BD2F93DA}" type="presOf" srcId="{847D2A0D-6F08-40CD-860D-C73DC592C369}" destId="{3B2A522E-5891-4F6C-BB0A-E1D990A97860}" srcOrd="0" destOrd="0" presId="urn:microsoft.com/office/officeart/2005/8/layout/orgChart1"/>
    <dgm:cxn modelId="{8495C81C-267E-4A71-A73E-AB50BB3E24EE}" srcId="{F5DE6F64-4035-4C49-91ED-DBDC64A915A2}" destId="{8D441C1A-54DF-46A1-B10F-0988E9FDD38C}" srcOrd="2" destOrd="0" parTransId="{FD49C565-8A7F-4D65-A023-AEEAA36FAC8E}" sibTransId="{129C2A40-EFF2-4167-A23B-F389228C2B7B}"/>
    <dgm:cxn modelId="{03290E1F-C35E-485B-B674-0E4422E6CF5F}" srcId="{F5DE6F64-4035-4C49-91ED-DBDC64A915A2}" destId="{C66D396A-52B6-478C-B884-1DBFC4CE376D}" srcOrd="0" destOrd="0" parTransId="{5C1CF0E1-7916-450B-A0FF-4CA85C5ED7EA}" sibTransId="{7A5C872D-C307-457F-BCB6-B6C70CBBA8F3}"/>
    <dgm:cxn modelId="{4C7CD420-B91B-43DC-A312-F9FD23473982}" type="presOf" srcId="{5EEA353E-AFC6-4F20-8D77-AD8593576011}" destId="{10893535-E133-4731-B500-FBF09351815B}" srcOrd="0" destOrd="0" presId="urn:microsoft.com/office/officeart/2005/8/layout/orgChart1"/>
    <dgm:cxn modelId="{4715F622-CAAB-4B66-89D7-C4CEAECE3313}" type="presOf" srcId="{6FDAC7CE-C7EF-40C3-B712-A3202A457CEF}" destId="{C79CBE1C-5BCD-423C-9518-DB48B8FD8151}" srcOrd="0" destOrd="0" presId="urn:microsoft.com/office/officeart/2005/8/layout/orgChart1"/>
    <dgm:cxn modelId="{4651A423-3FF8-4325-A182-364E8CA16C3D}" type="presOf" srcId="{F5DE6F64-4035-4C49-91ED-DBDC64A915A2}" destId="{6C266D4A-78B1-4036-AB88-E9116B80F397}" srcOrd="0" destOrd="0" presId="urn:microsoft.com/office/officeart/2005/8/layout/orgChart1"/>
    <dgm:cxn modelId="{4F0A6B24-9FF2-4130-9200-B89BBF924E3D}" srcId="{540C2E9F-1889-4B78-8850-A2214620AEC2}" destId="{69B3BA99-19BE-4056-B447-B57A5D6EB800}" srcOrd="2" destOrd="0" parTransId="{5CF0E6F3-E44B-4DD5-91AD-9A16ADA6EF9D}" sibTransId="{325C5326-46D2-4F9C-8AC7-0FBDDD91CB2A}"/>
    <dgm:cxn modelId="{63225128-AE0F-448B-8665-EC1AE1C93EDA}" type="presOf" srcId="{13E6143E-3AE3-4A1E-A16D-C96A8323BDC6}" destId="{CD140378-386D-4430-9B29-B12CE2D6642D}" srcOrd="0" destOrd="0" presId="urn:microsoft.com/office/officeart/2005/8/layout/orgChart1"/>
    <dgm:cxn modelId="{19467F28-3E68-461F-920C-39E5D890E31F}" type="presOf" srcId="{2237456A-7CAD-4BBB-8B75-8BA710CDB2DB}" destId="{8BD35391-95B9-4320-8202-838D0E00D891}" srcOrd="0" destOrd="0" presId="urn:microsoft.com/office/officeart/2005/8/layout/orgChart1"/>
    <dgm:cxn modelId="{18DBCA2A-84D1-491E-8CFF-73A907EF98FF}" type="presOf" srcId="{1CC0987F-94C0-4CA1-9C1E-E5D65D9D35F5}" destId="{E2E37F56-BA03-4D12-AA70-FEF5EDBA69E0}" srcOrd="1" destOrd="0" presId="urn:microsoft.com/office/officeart/2005/8/layout/orgChart1"/>
    <dgm:cxn modelId="{AE83EC2A-B5E8-4AC3-9C55-BE0E8DBA1B8E}" type="presOf" srcId="{5EEA353E-AFC6-4F20-8D77-AD8593576011}" destId="{02FD715C-0AB6-451C-8869-4951DD781340}" srcOrd="1" destOrd="0" presId="urn:microsoft.com/office/officeart/2005/8/layout/orgChart1"/>
    <dgm:cxn modelId="{F2FD5B2D-CFD4-4252-8AA1-45BE345E5054}" type="presOf" srcId="{A3FC52F2-F011-4737-8EB4-60558773279B}" destId="{AFC578FC-B6A9-4C9D-AE35-14F58D2A2F77}" srcOrd="0" destOrd="0" presId="urn:microsoft.com/office/officeart/2005/8/layout/orgChart1"/>
    <dgm:cxn modelId="{C625012F-7471-4C91-AF16-21A0797FF1A3}" type="presOf" srcId="{0CF47565-496B-452B-A332-F8123452058B}" destId="{609D9515-FD68-488F-BAB0-2D65B595BA72}" srcOrd="0" destOrd="0" presId="urn:microsoft.com/office/officeart/2005/8/layout/orgChart1"/>
    <dgm:cxn modelId="{EBE3672F-E650-4BFE-BDE2-370D3ED57B71}" type="presOf" srcId="{7A84427C-3B15-4A06-B001-88E182CD7F3D}" destId="{9307D0D8-28C6-42CE-B987-279A22C8F181}" srcOrd="0" destOrd="0" presId="urn:microsoft.com/office/officeart/2005/8/layout/orgChart1"/>
    <dgm:cxn modelId="{9F518D33-CF06-4E3F-A93C-C02A3D4E2B27}" type="presOf" srcId="{540C2E9F-1889-4B78-8850-A2214620AEC2}" destId="{E89B0C45-91FF-4D25-BFAB-CFB5B125FD7A}" srcOrd="1" destOrd="0" presId="urn:microsoft.com/office/officeart/2005/8/layout/orgChart1"/>
    <dgm:cxn modelId="{1F564537-210A-440B-BB4C-8043D8692C6E}" type="presOf" srcId="{C16E7A3F-4FAC-4D37-8EB8-8B73E615E126}" destId="{E45270CA-7EFA-4078-9809-BAA2674AF486}" srcOrd="0" destOrd="0" presId="urn:microsoft.com/office/officeart/2005/8/layout/orgChart1"/>
    <dgm:cxn modelId="{587C693C-4501-4840-ABDE-5E191C9C2187}" type="presOf" srcId="{3D973D13-7791-456C-B9BE-CDB53C40AD0D}" destId="{5334F2DE-F338-4A4E-8CF6-77E2FD3A717B}" srcOrd="0" destOrd="0" presId="urn:microsoft.com/office/officeart/2005/8/layout/orgChart1"/>
    <dgm:cxn modelId="{BF4B9A3D-5959-473B-BCC6-5C4E453FF4A7}" type="presOf" srcId="{F39F50FA-EEE3-4D7A-8C4B-320B85211430}" destId="{07F66D99-B4F5-48C7-93B8-AB3D74072266}" srcOrd="0" destOrd="0" presId="urn:microsoft.com/office/officeart/2005/8/layout/orgChart1"/>
    <dgm:cxn modelId="{050ECB40-F8AC-4DDA-AF2B-FB5997611B82}" srcId="{540C2E9F-1889-4B78-8850-A2214620AEC2}" destId="{A4F8D06E-6868-4605-9CA8-D5DBE8552438}" srcOrd="1" destOrd="0" parTransId="{614AE487-CB22-4019-B44A-968EBE925A3A}" sibTransId="{B128AEA2-D0AE-47F7-8C48-91EB3C829B4C}"/>
    <dgm:cxn modelId="{5B9A285B-C54A-4A14-BDD0-CCF97F47E37D}" type="presOf" srcId="{FAF273E8-FB9C-4474-92C9-A0CDE5FEDDC1}" destId="{5AC7132E-9C97-4821-9AB9-A1B5D43163E9}" srcOrd="0" destOrd="0" presId="urn:microsoft.com/office/officeart/2005/8/layout/orgChart1"/>
    <dgm:cxn modelId="{2821F05B-E4BD-436A-B89B-22392FC29976}" type="presOf" srcId="{9DF2303F-F99E-4326-AF63-497F712471BA}" destId="{A2EE17B1-5269-4D91-8EAE-84C00C476E4F}" srcOrd="0" destOrd="0" presId="urn:microsoft.com/office/officeart/2005/8/layout/orgChart1"/>
    <dgm:cxn modelId="{F0E0C85C-E2A5-4419-9DCE-68FD3ABB39CE}" type="presOf" srcId="{A4262D97-A659-4531-916F-5DF3BF937226}" destId="{6DDF7D82-D646-4609-A094-3328A062DF6E}" srcOrd="0" destOrd="0" presId="urn:microsoft.com/office/officeart/2005/8/layout/orgChart1"/>
    <dgm:cxn modelId="{FF7F2C5F-BFC0-4467-9239-F6EA3DAB285A}" type="presOf" srcId="{A7195517-ECE8-4D75-B284-DD7FC3A1C483}" destId="{A588C842-F20A-4AA8-85DA-6ACC4DA2A93E}" srcOrd="0" destOrd="0" presId="urn:microsoft.com/office/officeart/2005/8/layout/orgChart1"/>
    <dgm:cxn modelId="{36228F42-8DFC-410B-85CB-DCAA02DD74C0}" type="presOf" srcId="{A4F8D06E-6868-4605-9CA8-D5DBE8552438}" destId="{E99C2D6E-F9D2-4F8E-B31C-A508BF845E9A}" srcOrd="1" destOrd="0" presId="urn:microsoft.com/office/officeart/2005/8/layout/orgChart1"/>
    <dgm:cxn modelId="{64E89142-4E02-4AE2-BA0A-905CC87262CC}" type="presOf" srcId="{8C988897-87B7-4517-9047-DFA7A88C38ED}" destId="{15FEAFC3-CF70-4F3C-9079-5273AB9F4416}" srcOrd="1" destOrd="0" presId="urn:microsoft.com/office/officeart/2005/8/layout/orgChart1"/>
    <dgm:cxn modelId="{A6906943-09DA-463D-9264-CCAA87345C53}" type="presOf" srcId="{64F8D4FA-D3D5-41E7-B1F3-2788F0F14152}" destId="{A9A3C5A9-FE69-40F0-9426-F993BD8D7237}" srcOrd="1" destOrd="0" presId="urn:microsoft.com/office/officeart/2005/8/layout/orgChart1"/>
    <dgm:cxn modelId="{A9A5EC64-41D1-4D80-BDEF-65B79A0ABF41}" type="presOf" srcId="{69B3BA99-19BE-4056-B447-B57A5D6EB800}" destId="{E665A790-DD05-4110-AFF7-9C386768B58E}" srcOrd="1" destOrd="0" presId="urn:microsoft.com/office/officeart/2005/8/layout/orgChart1"/>
    <dgm:cxn modelId="{DF555866-BD93-47C3-85F9-DD6AD60B7973}" type="presOf" srcId="{5C1CF0E1-7916-450B-A0FF-4CA85C5ED7EA}" destId="{86EB517E-8780-471C-8102-499D33B80674}" srcOrd="0" destOrd="0" presId="urn:microsoft.com/office/officeart/2005/8/layout/orgChart1"/>
    <dgm:cxn modelId="{BE8C6067-883C-498E-BDBB-950B070B76F0}" type="presOf" srcId="{C8DBDEE6-FC39-4EAC-9FE5-3F58BA91234D}" destId="{EC5FC57E-FFD1-4726-A3E4-2553AA7909D3}" srcOrd="1" destOrd="0" presId="urn:microsoft.com/office/officeart/2005/8/layout/orgChart1"/>
    <dgm:cxn modelId="{5F4F5848-CA66-4198-BFB3-A18515633384}" srcId="{6E006925-3003-4720-8633-AD5D2DB96A2A}" destId="{8C988897-87B7-4517-9047-DFA7A88C38ED}" srcOrd="1" destOrd="0" parTransId="{03D29BEB-8C5A-4A99-8BC3-76E4815FCD31}" sibTransId="{2436EC5A-ABCA-41EE-BECC-8BBE18E8256E}"/>
    <dgm:cxn modelId="{BE1B924B-0C7F-4620-8B51-F57172EA1806}" srcId="{1CC0987F-94C0-4CA1-9C1E-E5D65D9D35F5}" destId="{6FDAC7CE-C7EF-40C3-B712-A3202A457CEF}" srcOrd="0" destOrd="0" parTransId="{8987B43F-EE7D-4124-AB48-46F3316BE98E}" sibTransId="{645F58BC-DE26-4E21-BAF6-DA0D82F55B8A}"/>
    <dgm:cxn modelId="{12DFD46B-8C19-432E-BF03-9E1C33B265A7}" type="presOf" srcId="{97751B3B-AFD0-4B86-8DBD-7987C92C6E32}" destId="{90ACCBF6-8CCD-45FE-A2D6-178440392A5C}" srcOrd="0" destOrd="0" presId="urn:microsoft.com/office/officeart/2005/8/layout/orgChart1"/>
    <dgm:cxn modelId="{9988554E-5DCF-421D-B73C-9407C02A8A4E}" type="presOf" srcId="{42048756-FBAC-4696-8F89-CC6248B7085F}" destId="{2DFE33DD-BC40-4FEC-BBB9-998940CB7A0B}" srcOrd="1" destOrd="0" presId="urn:microsoft.com/office/officeart/2005/8/layout/orgChart1"/>
    <dgm:cxn modelId="{0F0DDC6E-C13C-434D-8739-7AFD471BF417}" type="presOf" srcId="{A4262D97-A659-4531-916F-5DF3BF937226}" destId="{A7325601-2354-47E8-B1F0-A1CEABE054DC}" srcOrd="1" destOrd="0" presId="urn:microsoft.com/office/officeart/2005/8/layout/orgChart1"/>
    <dgm:cxn modelId="{863E736F-8E45-4D95-AF45-B011AD82391D}" type="presOf" srcId="{D1805DA1-904F-4B00-AF8A-FF206D51C6A2}" destId="{281EE699-AAC5-4334-987D-753B1F4AC9A0}" srcOrd="0" destOrd="0" presId="urn:microsoft.com/office/officeart/2005/8/layout/orgChart1"/>
    <dgm:cxn modelId="{9470E44F-EA5F-417E-A08D-C192B02D6385}" type="presOf" srcId="{FD49C565-8A7F-4D65-A023-AEEAA36FAC8E}" destId="{7AA3DD88-1C13-41B6-B7C8-797212C90F7F}" srcOrd="0" destOrd="0" presId="urn:microsoft.com/office/officeart/2005/8/layout/orgChart1"/>
    <dgm:cxn modelId="{9314FA4F-6159-4D5C-982C-5EF375E58E00}" type="presOf" srcId="{ADB61A74-EFE7-4172-BA5C-70A4B558052A}" destId="{EFC0F94C-067B-454A-9912-6B3C8383AEFF}" srcOrd="1" destOrd="0" presId="urn:microsoft.com/office/officeart/2005/8/layout/orgChart1"/>
    <dgm:cxn modelId="{0D5FB651-773F-46E4-833D-ACF1F42D0F80}" srcId="{F5DE6F64-4035-4C49-91ED-DBDC64A915A2}" destId="{275138D2-C73E-447C-AFE2-513D1B0EF955}" srcOrd="3" destOrd="0" parTransId="{A89F45FC-190E-43B3-89E2-9F073C630106}" sibTransId="{CEB4A5B4-A207-4EEE-90F3-E936C10012CE}"/>
    <dgm:cxn modelId="{C7ADDA51-E0E3-46F1-A079-BA2CCACB7D04}" type="presOf" srcId="{761A1E22-8C8A-4152-B1C8-4F9F35F000B9}" destId="{71B521A9-878F-41A1-8364-290A0A9B4615}" srcOrd="0" destOrd="0" presId="urn:microsoft.com/office/officeart/2005/8/layout/orgChart1"/>
    <dgm:cxn modelId="{CC99BC72-6785-4C86-95FD-29DF5063F994}" srcId="{1CC0987F-94C0-4CA1-9C1E-E5D65D9D35F5}" destId="{E557E23E-C3E6-42E2-868F-877B1D8E73CB}" srcOrd="3" destOrd="0" parTransId="{FAF273E8-FB9C-4474-92C9-A0CDE5FEDDC1}" sibTransId="{91839324-1A32-42DB-82F4-5BC2D4910982}"/>
    <dgm:cxn modelId="{7E557C56-0EF9-4253-AD65-842FAECF21EE}" type="presOf" srcId="{CEFE54B5-1BF0-40D8-A238-41A7896496D8}" destId="{D8C76C5F-CACD-4BE9-9210-01DA99ABE337}" srcOrd="1" destOrd="0" presId="urn:microsoft.com/office/officeart/2005/8/layout/orgChart1"/>
    <dgm:cxn modelId="{116C4C57-9BB4-49D1-B1F1-6C00C5357F72}" type="presOf" srcId="{13E6143E-3AE3-4A1E-A16D-C96A8323BDC6}" destId="{9922B4C0-BC02-4390-A8A7-3FC24BEE6EB1}" srcOrd="1" destOrd="0" presId="urn:microsoft.com/office/officeart/2005/8/layout/orgChart1"/>
    <dgm:cxn modelId="{C880AE77-1A9F-47CC-9226-A54318E80194}" type="presOf" srcId="{263E18CE-90B2-4143-B0A4-0A61C5034AB5}" destId="{48D2DCF3-435B-475C-87D6-04CD8FBF9EC5}" srcOrd="1" destOrd="0" presId="urn:microsoft.com/office/officeart/2005/8/layout/orgChart1"/>
    <dgm:cxn modelId="{A849D377-6200-42A7-948A-D92FACF12B85}" type="presOf" srcId="{7A84427C-3B15-4A06-B001-88E182CD7F3D}" destId="{AA4F6333-8A2A-4739-8884-3AAC1B530A12}" srcOrd="1" destOrd="0" presId="urn:microsoft.com/office/officeart/2005/8/layout/orgChart1"/>
    <dgm:cxn modelId="{CD019A5A-3B86-4ACB-8620-2E5BBB3725AA}" type="presOf" srcId="{A7195517-ECE8-4D75-B284-DD7FC3A1C483}" destId="{FA714205-4B82-446D-B68E-7F652DFBEEDA}" srcOrd="1" destOrd="0" presId="urn:microsoft.com/office/officeart/2005/8/layout/orgChart1"/>
    <dgm:cxn modelId="{E8010A7D-306C-4545-9997-F26C6FF2A141}" srcId="{540C2E9F-1889-4B78-8850-A2214620AEC2}" destId="{42048756-FBAC-4696-8F89-CC6248B7085F}" srcOrd="0" destOrd="0" parTransId="{9DF2303F-F99E-4326-AF63-497F712471BA}" sibTransId="{8D758232-EB6B-4488-9CBD-55A2B6B5E47E}"/>
    <dgm:cxn modelId="{D1932D80-5863-4537-B548-11AC18451B14}" type="presOf" srcId="{E557E23E-C3E6-42E2-868F-877B1D8E73CB}" destId="{A88EF65C-30E4-4BAB-91D7-5FCA3657199C}" srcOrd="1" destOrd="0" presId="urn:microsoft.com/office/officeart/2005/8/layout/orgChart1"/>
    <dgm:cxn modelId="{FAD94C80-5AE5-46C0-BCEC-4F5FE2EE2B70}" type="presOf" srcId="{83BD93D6-7A0E-4A44-AB13-3EF7F617E4A6}" destId="{0CBDE9EB-5821-4336-A084-BD7690A27F60}" srcOrd="0" destOrd="0" presId="urn:microsoft.com/office/officeart/2005/8/layout/orgChart1"/>
    <dgm:cxn modelId="{C5975680-0EA1-4DCF-B150-FFDEF961B243}" type="presOf" srcId="{8D441C1A-54DF-46A1-B10F-0988E9FDD38C}" destId="{B2F3286D-6314-4C55-9A76-09789B63FCF7}" srcOrd="0" destOrd="0" presId="urn:microsoft.com/office/officeart/2005/8/layout/orgChart1"/>
    <dgm:cxn modelId="{4D2DC282-BB3B-4C0E-8580-A8959C8B69A5}" type="presOf" srcId="{2AB31F72-6288-44D2-8072-2F3E8CA5E8E6}" destId="{557C00F6-D5CE-41A2-9D30-B1571F02F3F3}" srcOrd="1" destOrd="0" presId="urn:microsoft.com/office/officeart/2005/8/layout/orgChart1"/>
    <dgm:cxn modelId="{8AD7C083-EF6C-42E8-BA9B-8111E176026D}" type="presOf" srcId="{97751B3B-AFD0-4B86-8DBD-7987C92C6E32}" destId="{0F1C5F80-8969-4F48-BD14-9FA94170E033}" srcOrd="1" destOrd="0" presId="urn:microsoft.com/office/officeart/2005/8/layout/orgChart1"/>
    <dgm:cxn modelId="{DA32A684-2C37-4D52-AA6D-3A978B00CC79}" type="presOf" srcId="{BEC94471-A240-436D-A246-F2E4CBD2830E}" destId="{D1C6E5F2-957F-4A86-84F2-A5705BB91D62}" srcOrd="1" destOrd="0" presId="urn:microsoft.com/office/officeart/2005/8/layout/orgChart1"/>
    <dgm:cxn modelId="{3E7F3B85-0335-4505-AF4B-C10CA7AF2D7F}" type="presOf" srcId="{6E006925-3003-4720-8633-AD5D2DB96A2A}" destId="{70B29599-2987-4A59-9606-E2C559936213}" srcOrd="1" destOrd="0" presId="urn:microsoft.com/office/officeart/2005/8/layout/orgChart1"/>
    <dgm:cxn modelId="{03C6F285-B3F6-4FA9-96A1-1B9A78DB8D04}" type="presOf" srcId="{8D441C1A-54DF-46A1-B10F-0988E9FDD38C}" destId="{4C66B3C9-7FDC-4B1E-B8AF-BDC7530C94F9}" srcOrd="1" destOrd="0" presId="urn:microsoft.com/office/officeart/2005/8/layout/orgChart1"/>
    <dgm:cxn modelId="{7A773689-1A15-4093-8376-572A6B714BCA}" srcId="{8C988897-87B7-4517-9047-DFA7A88C38ED}" destId="{540C2E9F-1889-4B78-8850-A2214620AEC2}" srcOrd="1" destOrd="0" parTransId="{C87D7B44-38B7-49BA-A29A-8B31970D16E2}" sibTransId="{9D65047B-33A3-42DA-B933-6B66C2050868}"/>
    <dgm:cxn modelId="{481E108D-0DE0-4193-99C0-D212D0098AF5}" type="presOf" srcId="{42048756-FBAC-4696-8F89-CC6248B7085F}" destId="{F5F7E505-2D9D-4770-97E1-42609DA4ACF5}" srcOrd="0" destOrd="0" presId="urn:microsoft.com/office/officeart/2005/8/layout/orgChart1"/>
    <dgm:cxn modelId="{654F948D-7BA0-43A8-B55C-29810BA68427}" type="presOf" srcId="{732D6DDE-1958-4080-B9C5-8822189E6B58}" destId="{FA385A78-7FD4-4B85-B877-83B5CBB0AFC4}" srcOrd="1" destOrd="0" presId="urn:microsoft.com/office/officeart/2005/8/layout/orgChart1"/>
    <dgm:cxn modelId="{410D3B8E-3D23-4750-8C5F-A93BA12A323D}" type="presOf" srcId="{2237456A-7CAD-4BBB-8B75-8BA710CDB2DB}" destId="{9DF6EFBF-7296-41C6-A2FA-178DABE2BD52}" srcOrd="1" destOrd="0" presId="urn:microsoft.com/office/officeart/2005/8/layout/orgChart1"/>
    <dgm:cxn modelId="{5C065E8E-72E0-46DC-A03C-4ADCC5BED53A}" type="presOf" srcId="{8C988897-87B7-4517-9047-DFA7A88C38ED}" destId="{57776C70-4867-4A75-BB91-ECE4EAD53C8E}" srcOrd="0" destOrd="0" presId="urn:microsoft.com/office/officeart/2005/8/layout/orgChart1"/>
    <dgm:cxn modelId="{37138E91-D95A-4B9C-B18D-8B9245E44948}" type="presOf" srcId="{BF5C762F-4D22-40BD-8AE4-E35CCF8A132F}" destId="{0233A6CF-7EEC-421E-B96A-C07F48BA9812}" srcOrd="0" destOrd="0" presId="urn:microsoft.com/office/officeart/2005/8/layout/orgChart1"/>
    <dgm:cxn modelId="{95050394-8BB2-4E1B-93F8-FEE6A7A14F16}" type="presOf" srcId="{F5DE6F64-4035-4C49-91ED-DBDC64A915A2}" destId="{A6D3E597-B372-44EB-913D-AEF1C0E233C2}" srcOrd="1" destOrd="0" presId="urn:microsoft.com/office/officeart/2005/8/layout/orgChart1"/>
    <dgm:cxn modelId="{3C986995-76F4-4DB1-B6C5-DF1068BA7E44}" srcId="{1CC0987F-94C0-4CA1-9C1E-E5D65D9D35F5}" destId="{C8DBDEE6-FC39-4EAC-9FE5-3F58BA91234D}" srcOrd="1" destOrd="0" parTransId="{F39F50FA-EEE3-4D7A-8C4B-320B85211430}" sibTransId="{11858CF6-7F77-48B3-AFAA-6DF7453AF8F1}"/>
    <dgm:cxn modelId="{729E4796-1157-49B9-B491-73D96D18F967}" type="presOf" srcId="{1CC0987F-94C0-4CA1-9C1E-E5D65D9D35F5}" destId="{1F4D08F4-B6A1-4643-8643-00E57F1133EA}" srcOrd="0" destOrd="0" presId="urn:microsoft.com/office/officeart/2005/8/layout/orgChart1"/>
    <dgm:cxn modelId="{9849B796-AB35-4B61-889F-AC230FE47839}" type="presOf" srcId="{614AE487-CB22-4019-B44A-968EBE925A3A}" destId="{F9A8F6A6-2D0C-4B80-A155-F7CAE6A84806}" srcOrd="0" destOrd="0" presId="urn:microsoft.com/office/officeart/2005/8/layout/orgChart1"/>
    <dgm:cxn modelId="{24FDC796-ED8B-4731-97C4-9A1673433B2D}" type="presOf" srcId="{F7DB04EC-4168-4743-9845-F6C1C690AAAC}" destId="{E5E98410-234D-44E6-98BF-7874D840463A}" srcOrd="0" destOrd="0" presId="urn:microsoft.com/office/officeart/2005/8/layout/orgChart1"/>
    <dgm:cxn modelId="{03A40699-7F01-4279-84B3-645E1B1FF935}" type="presOf" srcId="{275138D2-C73E-447C-AFE2-513D1B0EF955}" destId="{4F1E668C-C00C-4FE4-B512-56C433D3CB9E}" srcOrd="1" destOrd="0" presId="urn:microsoft.com/office/officeart/2005/8/layout/orgChart1"/>
    <dgm:cxn modelId="{6E4C3C9B-13CB-4D1E-91E9-A66904E6DEB5}" srcId="{82AAA354-A7CE-4AB1-99AB-2B651718BBA4}" destId="{761A1E22-8C8A-4152-B1C8-4F9F35F000B9}" srcOrd="1" destOrd="0" parTransId="{D1805DA1-904F-4B00-AF8A-FF206D51C6A2}" sibTransId="{E093EFA0-7F0F-40F5-A5A5-B7265D03F82F}"/>
    <dgm:cxn modelId="{5DFBE19D-6003-4C51-B744-2305961B448A}" type="presOf" srcId="{ADB61A74-EFE7-4172-BA5C-70A4B558052A}" destId="{1C12DD44-043B-4530-9317-8D28108F765D}" srcOrd="0" destOrd="0" presId="urn:microsoft.com/office/officeart/2005/8/layout/orgChart1"/>
    <dgm:cxn modelId="{DC165AA0-B78B-4D37-8786-52F12221953E}" type="presOf" srcId="{5CF0E6F3-E44B-4DD5-91AD-9A16ADA6EF9D}" destId="{318689F4-38BD-49C3-BF24-078BB270AE7F}" srcOrd="0" destOrd="0" presId="urn:microsoft.com/office/officeart/2005/8/layout/orgChart1"/>
    <dgm:cxn modelId="{99F383A1-0942-4CA3-927E-66D980C9F11B}" type="presOf" srcId="{C87D7B44-38B7-49BA-A29A-8B31970D16E2}" destId="{2CCE8910-CA11-4D95-8921-8FAA0892D302}" srcOrd="0" destOrd="0" presId="urn:microsoft.com/office/officeart/2005/8/layout/orgChart1"/>
    <dgm:cxn modelId="{D898ACA2-8985-4C7F-9F1E-53B020974A2E}" type="presOf" srcId="{82AAA354-A7CE-4AB1-99AB-2B651718BBA4}" destId="{72BE5304-752C-4167-B03F-5A6E23A69990}" srcOrd="0" destOrd="0" presId="urn:microsoft.com/office/officeart/2005/8/layout/orgChart1"/>
    <dgm:cxn modelId="{A95D04A3-216C-4482-B8DA-5792893342AB}" srcId="{1CC0987F-94C0-4CA1-9C1E-E5D65D9D35F5}" destId="{A4262D97-A659-4531-916F-5DF3BF937226}" srcOrd="5" destOrd="0" parTransId="{C16E7A3F-4FAC-4D37-8EB8-8B73E615E126}" sibTransId="{24D59F74-16E1-475B-9043-1AB201A78EB7}"/>
    <dgm:cxn modelId="{F3D3CFA4-A651-408D-AC78-70FCD4D669F8}" type="presOf" srcId="{1FB87FED-6972-430F-AC0C-71746CE494E0}" destId="{26B8BE0C-B6B2-41D8-9DFA-F1DA7BCA117F}" srcOrd="0" destOrd="0" presId="urn:microsoft.com/office/officeart/2005/8/layout/orgChart1"/>
    <dgm:cxn modelId="{1D9C0DA6-A66C-4896-BD02-0B3148810FCA}" srcId="{82AAA354-A7CE-4AB1-99AB-2B651718BBA4}" destId="{25EF0883-7505-481B-9361-6A17544145A1}" srcOrd="2" destOrd="0" parTransId="{0CF47565-496B-452B-A332-F8123452058B}" sibTransId="{4C8A066E-D124-4071-B943-8BCE9C106578}"/>
    <dgm:cxn modelId="{F3348CA8-8FF9-4A97-9A82-0E92493ECB8E}" type="presOf" srcId="{25EF0883-7505-481B-9361-6A17544145A1}" destId="{790C1FBB-4319-4B98-A874-713788B861D2}" srcOrd="1" destOrd="0" presId="urn:microsoft.com/office/officeart/2005/8/layout/orgChart1"/>
    <dgm:cxn modelId="{E9E531AA-82F3-4565-95AB-E6188F168933}" type="presOf" srcId="{9F6D6DF3-BD86-4B79-B0EA-6229995A3CF6}" destId="{C93F01E3-5822-44E4-B417-6C97B4660682}" srcOrd="0" destOrd="0" presId="urn:microsoft.com/office/officeart/2005/8/layout/orgChart1"/>
    <dgm:cxn modelId="{2F901CAC-AC11-4F90-9DD8-47CD7F6A2242}" type="presOf" srcId="{BEC94471-A240-436D-A246-F2E4CBD2830E}" destId="{4E3B5942-48DC-4E61-A9E8-CBF6E9B1B977}" srcOrd="0" destOrd="0" presId="urn:microsoft.com/office/officeart/2005/8/layout/orgChart1"/>
    <dgm:cxn modelId="{7A0432AE-FB59-42C3-A85C-77737A8D92C9}" type="presOf" srcId="{C8DBDEE6-FC39-4EAC-9FE5-3F58BA91234D}" destId="{8EEA6470-AFE7-4291-ACFD-8B7320266F1F}" srcOrd="0" destOrd="0" presId="urn:microsoft.com/office/officeart/2005/8/layout/orgChart1"/>
    <dgm:cxn modelId="{E3CB64AF-1E40-4266-81CD-9D71152C8B38}" srcId="{540C2E9F-1889-4B78-8850-A2214620AEC2}" destId="{7A84427C-3B15-4A06-B001-88E182CD7F3D}" srcOrd="3" destOrd="0" parTransId="{7F888869-3C7D-49EA-89F2-0844ADD737EA}" sibTransId="{90930465-1D51-41AB-8617-64BFA21818EB}"/>
    <dgm:cxn modelId="{C6C7A5B0-F44B-41BD-9D5D-F2F76FD1E08D}" srcId="{1CC0987F-94C0-4CA1-9C1E-E5D65D9D35F5}" destId="{039FA459-9C06-468E-B1F7-E5A82D5411B4}" srcOrd="2" destOrd="0" parTransId="{62D16580-86F9-40F0-867C-B38652B85398}" sibTransId="{F54622C5-0363-4600-8D38-21A33EE77957}"/>
    <dgm:cxn modelId="{FA1E3DB1-18F6-4CF2-90EC-0E61FD25784A}" type="presOf" srcId="{CEFE54B5-1BF0-40D8-A238-41A7896496D8}" destId="{E180F611-3F02-473E-B8B3-2F7FCC74AF64}" srcOrd="0" destOrd="0" presId="urn:microsoft.com/office/officeart/2005/8/layout/orgChart1"/>
    <dgm:cxn modelId="{493C90B2-94A9-4EDF-83DB-EE9F7E8FC6C4}" srcId="{F5DE6F64-4035-4C49-91ED-DBDC64A915A2}" destId="{64F8D4FA-D3D5-41E7-B1F3-2788F0F14152}" srcOrd="4" destOrd="0" parTransId="{99F1142D-7578-41B4-AE54-808D802EAC2A}" sibTransId="{64EA792C-DF07-4774-9E62-82F860AF0DF2}"/>
    <dgm:cxn modelId="{C788BFB4-1003-44B6-818B-EAED075DF0D5}" srcId="{F5DE6F64-4035-4C49-91ED-DBDC64A915A2}" destId="{732D6DDE-1958-4080-B9C5-8822189E6B58}" srcOrd="5" destOrd="0" parTransId="{29415E4A-C737-48DB-A75A-06C6A7C1C097}" sibTransId="{F2038E71-FEBB-4EB0-881E-223FA153D5B7}"/>
    <dgm:cxn modelId="{1466F3B4-444B-4962-9D6E-B77C74E043EF}" type="presOf" srcId="{540C2E9F-1889-4B78-8850-A2214620AEC2}" destId="{CE56B94C-735A-48F5-B1DC-31EAB6128EEC}" srcOrd="0" destOrd="0" presId="urn:microsoft.com/office/officeart/2005/8/layout/orgChart1"/>
    <dgm:cxn modelId="{D5788AB9-ED56-465E-AB58-17E7468F3082}" type="presOf" srcId="{7F888869-3C7D-49EA-89F2-0844ADD737EA}" destId="{A3DE7EBE-F873-46CB-8955-E6DECCD06FFF}" srcOrd="0" destOrd="0" presId="urn:microsoft.com/office/officeart/2005/8/layout/orgChart1"/>
    <dgm:cxn modelId="{9824D1BC-5934-4292-95A6-9F754CCEE268}" type="presOf" srcId="{69B3BA99-19BE-4056-B447-B57A5D6EB800}" destId="{E48CBA97-491F-4650-AB97-AC64AF0CDB42}" srcOrd="0" destOrd="0" presId="urn:microsoft.com/office/officeart/2005/8/layout/orgChart1"/>
    <dgm:cxn modelId="{B0F60AC2-D4B1-43AB-A167-1DB8CD4DAB1C}" type="presOf" srcId="{C3907856-EB3C-408D-9DFE-CF514D31CB1C}" destId="{7BA5241B-B7BC-41D5-A4B6-BA92111D315F}" srcOrd="0" destOrd="0" presId="urn:microsoft.com/office/officeart/2005/8/layout/orgChart1"/>
    <dgm:cxn modelId="{96438DC3-B025-4447-80C6-10D098CA323B}" type="presOf" srcId="{0A82C860-67E9-4924-9DCF-FC0CBD8C5010}" destId="{FBFD23C5-1602-4A2F-AD09-F68FE1E1AEEE}" srcOrd="0" destOrd="0" presId="urn:microsoft.com/office/officeart/2005/8/layout/orgChart1"/>
    <dgm:cxn modelId="{A3A6A5C6-0199-4E2A-92D1-564E136CD21E}" type="presOf" srcId="{99F1142D-7578-41B4-AE54-808D802EAC2A}" destId="{A6484312-1201-487E-B86F-C0163B4E5533}" srcOrd="0" destOrd="0" presId="urn:microsoft.com/office/officeart/2005/8/layout/orgChart1"/>
    <dgm:cxn modelId="{3DC840C8-45A7-424E-A606-F5D71594EC8C}" srcId="{6E006925-3003-4720-8633-AD5D2DB96A2A}" destId="{ADB61A74-EFE7-4172-BA5C-70A4B558052A}" srcOrd="0" destOrd="0" parTransId="{AF9FB500-0E51-409F-A2B0-75F5C91B0C36}" sibTransId="{4D95F8D6-0166-416C-A16E-3233DDACFEB6}"/>
    <dgm:cxn modelId="{413B69CA-1F2C-43DA-9CE8-CC27FD4903F5}" type="presOf" srcId="{6E006925-3003-4720-8633-AD5D2DB96A2A}" destId="{B748CB5D-1BF0-40F4-B0E2-608095375244}" srcOrd="0" destOrd="0" presId="urn:microsoft.com/office/officeart/2005/8/layout/orgChart1"/>
    <dgm:cxn modelId="{82D5C0CE-A17C-4FFC-8F69-E665DCFB5222}" type="presOf" srcId="{82AAA354-A7CE-4AB1-99AB-2B651718BBA4}" destId="{715A2952-F3DA-4A02-ACE8-7C57C9B40431}" srcOrd="1" destOrd="0" presId="urn:microsoft.com/office/officeart/2005/8/layout/orgChart1"/>
    <dgm:cxn modelId="{C1FB86D0-3301-414C-8D9D-1DB236A0CA01}" srcId="{82AAA354-A7CE-4AB1-99AB-2B651718BBA4}" destId="{A7195517-ECE8-4D75-B284-DD7FC3A1C483}" srcOrd="3" destOrd="0" parTransId="{3A71DE44-A883-452F-BD5C-5C1232AFF38F}" sibTransId="{B03912AA-9EC5-4CF4-8842-A978F5471BA2}"/>
    <dgm:cxn modelId="{CE4E22D1-3EE0-4F09-82A0-0CD5785AECDF}" srcId="{1CC0987F-94C0-4CA1-9C1E-E5D65D9D35F5}" destId="{97751B3B-AFD0-4B86-8DBD-7987C92C6E32}" srcOrd="4" destOrd="0" parTransId="{83BD93D6-7A0E-4A44-AB13-3EF7F617E4A6}" sibTransId="{CCD94597-4420-41FE-95DA-62E7EBB26D85}"/>
    <dgm:cxn modelId="{8D152BD1-C15E-4D92-A975-73CBD6E4487F}" srcId="{82AAA354-A7CE-4AB1-99AB-2B651718BBA4}" destId="{4D793E25-9924-492C-B00A-32F155E6050A}" srcOrd="0" destOrd="0" parTransId="{30F82C44-F97D-491F-8381-068EEDDCD21B}" sibTransId="{FF3265DF-C755-46E3-B9BC-B845D9BAEC0A}"/>
    <dgm:cxn modelId="{C527CBD1-8122-4A6B-A5A5-5CA46E020A6C}" srcId="{8C988897-87B7-4517-9047-DFA7A88C38ED}" destId="{1CC0987F-94C0-4CA1-9C1E-E5D65D9D35F5}" srcOrd="0" destOrd="0" parTransId="{FDD59A98-5413-4434-8DC1-7DF4B1D9C928}" sibTransId="{6C879D9C-8CA7-4280-8B3A-AF6856C8A1A4}"/>
    <dgm:cxn modelId="{FB79E1D5-74B0-4F6E-A2E5-B5C7D3EE42DA}" type="presOf" srcId="{2AB31F72-6288-44D2-8072-2F3E8CA5E8E6}" destId="{1C01B158-6877-41F6-B07E-1C9B8910083F}" srcOrd="0" destOrd="0" presId="urn:microsoft.com/office/officeart/2005/8/layout/orgChart1"/>
    <dgm:cxn modelId="{E240E9D5-60B5-409A-B856-58237F092040}" type="presOf" srcId="{FDD59A98-5413-4434-8DC1-7DF4B1D9C928}" destId="{4B911C8F-417C-49C0-AAE0-9CE821F23A53}" srcOrd="0" destOrd="0" presId="urn:microsoft.com/office/officeart/2005/8/layout/orgChart1"/>
    <dgm:cxn modelId="{A252C9D6-4E61-4691-81A7-556B2AFA1199}" srcId="{6E006925-3003-4720-8633-AD5D2DB96A2A}" destId="{F5DE6F64-4035-4C49-91ED-DBDC64A915A2}" srcOrd="3" destOrd="0" parTransId="{BF5C762F-4D22-40BD-8AE4-E35CCF8A132F}" sibTransId="{B440C280-826B-45A0-9F2A-49CA8BA5DF85}"/>
    <dgm:cxn modelId="{6BCA97D7-0B29-4445-896C-8580ABD9C3FF}" type="presOf" srcId="{8987B43F-EE7D-4124-AB48-46F3316BE98E}" destId="{5F27B44E-4915-466B-B832-3FF70F523FEB}" srcOrd="0" destOrd="0" presId="urn:microsoft.com/office/officeart/2005/8/layout/orgChart1"/>
    <dgm:cxn modelId="{817F41D9-C4C6-4BFD-8028-FE41B17F6332}" type="presOf" srcId="{03D29BEB-8C5A-4A99-8BC3-76E4815FCD31}" destId="{4617481A-8433-4D8A-9D92-8280515D5E7A}" srcOrd="0" destOrd="0" presId="urn:microsoft.com/office/officeart/2005/8/layout/orgChart1"/>
    <dgm:cxn modelId="{4D6847D9-2B42-4F13-9574-732A3C9A539E}" type="presOf" srcId="{275138D2-C73E-447C-AFE2-513D1B0EF955}" destId="{B74760F0-5447-4F80-8917-F4BB9755915B}" srcOrd="0" destOrd="0" presId="urn:microsoft.com/office/officeart/2005/8/layout/orgChart1"/>
    <dgm:cxn modelId="{0E4BB7D9-6471-48B7-9985-D4ED6BC09388}" type="presOf" srcId="{E557E23E-C3E6-42E2-868F-877B1D8E73CB}" destId="{D0C06A9D-9519-414B-BFF8-974E13F78F47}" srcOrd="0" destOrd="0" presId="urn:microsoft.com/office/officeart/2005/8/layout/orgChart1"/>
    <dgm:cxn modelId="{48ADFDDA-0F9C-4E33-A1CB-3D0F8095C59C}" type="presOf" srcId="{62D16580-86F9-40F0-867C-B38652B85398}" destId="{983796B0-4E24-4037-A756-23DAC096EEDD}" srcOrd="0" destOrd="0" presId="urn:microsoft.com/office/officeart/2005/8/layout/orgChart1"/>
    <dgm:cxn modelId="{69C047DD-2A64-42FE-B63F-1D6685C596A7}" srcId="{CEFE54B5-1BF0-40D8-A238-41A7896496D8}" destId="{82AAA354-A7CE-4AB1-99AB-2B651718BBA4}" srcOrd="0" destOrd="0" parTransId="{3D973D13-7791-456C-B9BE-CDB53C40AD0D}" sibTransId="{86D78BF2-5602-4D82-8179-A3BEDE65EE3C}"/>
    <dgm:cxn modelId="{51D81BE7-E4B6-4AF0-B799-74DFE5BE95B4}" type="presOf" srcId="{732D6DDE-1958-4080-B9C5-8822189E6B58}" destId="{FBCFADAA-2BD5-4483-9174-AACD66D45251}" srcOrd="0" destOrd="0" presId="urn:microsoft.com/office/officeart/2005/8/layout/orgChart1"/>
    <dgm:cxn modelId="{3F3DE9E9-BCE1-4553-AD2B-5D1514B648D0}" srcId="{6E006925-3003-4720-8633-AD5D2DB96A2A}" destId="{CEFE54B5-1BF0-40D8-A238-41A7896496D8}" srcOrd="2" destOrd="0" parTransId="{1FB87FED-6972-430F-AC0C-71746CE494E0}" sibTransId="{6561193A-D219-4269-B667-3F90A154D0FB}"/>
    <dgm:cxn modelId="{9CCA81EC-C1FA-45C0-8DA4-CF34814A7B51}" srcId="{F5DE6F64-4035-4C49-91ED-DBDC64A915A2}" destId="{263E18CE-90B2-4143-B0A4-0A61C5034AB5}" srcOrd="1" destOrd="0" parTransId="{847D2A0D-6F08-40CD-860D-C73DC592C369}" sibTransId="{095F1534-F56A-4A3A-A5EB-EB62FAA342C4}"/>
    <dgm:cxn modelId="{7D0E90ED-8B8C-499A-8B8E-B85DEA5ADCB5}" srcId="{CEFE54B5-1BF0-40D8-A238-41A7896496D8}" destId="{A3FC52F2-F011-4737-8EB4-60558773279B}" srcOrd="1" destOrd="0" parTransId="{C3907856-EB3C-408D-9DFE-CF514D31CB1C}" sibTransId="{52C7C134-FE0C-4547-BD91-D4F8ED58C399}"/>
    <dgm:cxn modelId="{52292BEE-21A6-4672-9F73-568305F0404F}" srcId="{540C2E9F-1889-4B78-8850-A2214620AEC2}" destId="{2237456A-7CAD-4BBB-8B75-8BA710CDB2DB}" srcOrd="4" destOrd="0" parTransId="{9F6D6DF3-BD86-4B79-B0EA-6229995A3CF6}" sibTransId="{075A5533-0611-460C-A4FA-37B5F2B23AF1}"/>
    <dgm:cxn modelId="{71733FF0-355C-4984-8638-1EC3B6368E70}" type="presOf" srcId="{A89F45FC-190E-43B3-89E2-9F073C630106}" destId="{4E58DDE5-54BC-4CD1-9E87-D9E79F76CDF5}" srcOrd="0" destOrd="0" presId="urn:microsoft.com/office/officeart/2005/8/layout/orgChart1"/>
    <dgm:cxn modelId="{A4B162F1-723D-4C46-AAAE-33C73595ADE0}" type="presOf" srcId="{039FA459-9C06-468E-B1F7-E5A82D5411B4}" destId="{BDED5FC7-7ECA-4F93-98CF-FB3DDFEDBC40}" srcOrd="0" destOrd="0" presId="urn:microsoft.com/office/officeart/2005/8/layout/orgChart1"/>
    <dgm:cxn modelId="{89BC09F3-522B-4CF2-A0D9-14AD79374A8E}" type="presOf" srcId="{761A1E22-8C8A-4152-B1C8-4F9F35F000B9}" destId="{17B00065-1171-40DE-9B0F-689010D7168B}" srcOrd="1" destOrd="0" presId="urn:microsoft.com/office/officeart/2005/8/layout/orgChart1"/>
    <dgm:cxn modelId="{DB743CF3-49FF-44F2-AD08-3D2C02B7EC98}" srcId="{EF832AFC-3F8E-4FC2-A2C2-34B65B63776D}" destId="{6E006925-3003-4720-8633-AD5D2DB96A2A}" srcOrd="0" destOrd="0" parTransId="{EE21B19B-79F6-4D43-9A5B-C3CB30C837EB}" sibTransId="{3B55E5E6-48FD-4015-BF60-694348163B1F}"/>
    <dgm:cxn modelId="{6C692DF4-B887-4FEC-9BD4-5D5A653AF991}" type="presOf" srcId="{4D793E25-9924-492C-B00A-32F155E6050A}" destId="{EF7362E5-E6E8-41B8-BEAF-EEAD6195ADB6}" srcOrd="0" destOrd="0" presId="urn:microsoft.com/office/officeart/2005/8/layout/orgChart1"/>
    <dgm:cxn modelId="{D0EECEF4-F285-49FE-A24D-8611A0188658}" type="presOf" srcId="{C66D396A-52B6-478C-B884-1DBFC4CE376D}" destId="{79E89AB2-E921-4A28-B05A-FD9DD9413433}" srcOrd="1" destOrd="0" presId="urn:microsoft.com/office/officeart/2005/8/layout/orgChart1"/>
    <dgm:cxn modelId="{E20F80F6-2CD3-42B5-9910-7D14EF778F5E}" srcId="{A3FC52F2-F011-4737-8EB4-60558773279B}" destId="{2AB31F72-6288-44D2-8072-2F3E8CA5E8E6}" srcOrd="3" destOrd="0" parTransId="{F7DB04EC-4168-4743-9845-F6C1C690AAAC}" sibTransId="{93F5CAB4-2AB7-4A78-A535-D6B3D24DA627}"/>
    <dgm:cxn modelId="{E55BD9F8-A33F-481A-94F5-9616C4D36FD3}" type="presOf" srcId="{4D793E25-9924-492C-B00A-32F155E6050A}" destId="{D8FC26CB-72A7-4E2F-A201-F28F11841DA8}" srcOrd="1" destOrd="0" presId="urn:microsoft.com/office/officeart/2005/8/layout/orgChart1"/>
    <dgm:cxn modelId="{19FA7AFA-84A9-43D0-BB1E-953DBB1C3BFF}" type="presOf" srcId="{A4F8D06E-6868-4605-9CA8-D5DBE8552438}" destId="{FA762EA6-3940-4136-A615-06324795D68F}" srcOrd="0" destOrd="0" presId="urn:microsoft.com/office/officeart/2005/8/layout/orgChart1"/>
    <dgm:cxn modelId="{31E9EBFA-B23C-463A-8F34-F88AF80B218E}" type="presOf" srcId="{C66D396A-52B6-478C-B884-1DBFC4CE376D}" destId="{598822A9-D11F-468E-902B-653E43C8F350}" srcOrd="0" destOrd="0" presId="urn:microsoft.com/office/officeart/2005/8/layout/orgChart1"/>
    <dgm:cxn modelId="{167948FE-A186-4F88-8225-9F1075129423}" type="presOf" srcId="{CDC32E48-8470-4047-9C56-5574FF1AE61B}" destId="{88564183-0CC7-4C92-BE75-FB1FDE2DB88B}" srcOrd="0" destOrd="0" presId="urn:microsoft.com/office/officeart/2005/8/layout/orgChart1"/>
    <dgm:cxn modelId="{72BDA2FE-9879-4B40-A164-E49BBDB20E8C}" type="presOf" srcId="{AF9FB500-0E51-409F-A2B0-75F5C91B0C36}" destId="{46B384E3-8F9D-4901-93EC-34519CFF5CE3}" srcOrd="0" destOrd="0" presId="urn:microsoft.com/office/officeart/2005/8/layout/orgChart1"/>
    <dgm:cxn modelId="{97AE87FF-7BA1-4E1E-BACC-821DEC3E9501}" srcId="{A3FC52F2-F011-4737-8EB4-60558773279B}" destId="{13E6143E-3AE3-4A1E-A16D-C96A8323BDC6}" srcOrd="1" destOrd="0" parTransId="{CDC32E48-8470-4047-9C56-5574FF1AE61B}" sibTransId="{3989C149-0CD7-479A-A0B6-E6DAD0A57E2C}"/>
    <dgm:cxn modelId="{CF1AC4B0-9487-4324-A7E1-F86950DF383F}" type="presParOf" srcId="{1D702F36-EFBC-4D33-AFBB-22A512C7F89A}" destId="{7C736579-9C03-4AE0-BC86-D125DC12861F}" srcOrd="0" destOrd="0" presId="urn:microsoft.com/office/officeart/2005/8/layout/orgChart1"/>
    <dgm:cxn modelId="{507084EF-460B-4E88-B4D7-8D9E412130F5}" type="presParOf" srcId="{7C736579-9C03-4AE0-BC86-D125DC12861F}" destId="{8F92E065-A464-4058-8DC3-9141E7868862}" srcOrd="0" destOrd="0" presId="urn:microsoft.com/office/officeart/2005/8/layout/orgChart1"/>
    <dgm:cxn modelId="{1767427F-AE3C-48EC-926D-95B1194D7627}" type="presParOf" srcId="{8F92E065-A464-4058-8DC3-9141E7868862}" destId="{B748CB5D-1BF0-40F4-B0E2-608095375244}" srcOrd="0" destOrd="0" presId="urn:microsoft.com/office/officeart/2005/8/layout/orgChart1"/>
    <dgm:cxn modelId="{16B7E6A0-0F94-42A6-9D45-628A2CFA291A}" type="presParOf" srcId="{8F92E065-A464-4058-8DC3-9141E7868862}" destId="{70B29599-2987-4A59-9606-E2C559936213}" srcOrd="1" destOrd="0" presId="urn:microsoft.com/office/officeart/2005/8/layout/orgChart1"/>
    <dgm:cxn modelId="{2E929304-8487-48D0-BE4C-31948989A170}" type="presParOf" srcId="{7C736579-9C03-4AE0-BC86-D125DC12861F}" destId="{FAE866CE-561F-4C3A-9064-6F1D0BD6CF34}" srcOrd="1" destOrd="0" presId="urn:microsoft.com/office/officeart/2005/8/layout/orgChart1"/>
    <dgm:cxn modelId="{491B4C53-20C1-428A-93A1-5F2B166405BA}" type="presParOf" srcId="{FAE866CE-561F-4C3A-9064-6F1D0BD6CF34}" destId="{4617481A-8433-4D8A-9D92-8280515D5E7A}" srcOrd="0" destOrd="0" presId="urn:microsoft.com/office/officeart/2005/8/layout/orgChart1"/>
    <dgm:cxn modelId="{B7D37297-DB1A-432A-89D0-D6243C597B53}" type="presParOf" srcId="{FAE866CE-561F-4C3A-9064-6F1D0BD6CF34}" destId="{758C4A9F-C30E-4953-BF90-265BABA0581D}" srcOrd="1" destOrd="0" presId="urn:microsoft.com/office/officeart/2005/8/layout/orgChart1"/>
    <dgm:cxn modelId="{64D53675-AF9D-4A47-8EA2-F94C910AC1AA}" type="presParOf" srcId="{758C4A9F-C30E-4953-BF90-265BABA0581D}" destId="{DCC1CDE0-6ED1-45F1-95DA-E0969DACE8A5}" srcOrd="0" destOrd="0" presId="urn:microsoft.com/office/officeart/2005/8/layout/orgChart1"/>
    <dgm:cxn modelId="{BFFCDCC0-5B2E-4EAF-B11D-C9CFEE62C311}" type="presParOf" srcId="{DCC1CDE0-6ED1-45F1-95DA-E0969DACE8A5}" destId="{57776C70-4867-4A75-BB91-ECE4EAD53C8E}" srcOrd="0" destOrd="0" presId="urn:microsoft.com/office/officeart/2005/8/layout/orgChart1"/>
    <dgm:cxn modelId="{930C3847-F045-47D9-A610-C1796C6F8672}" type="presParOf" srcId="{DCC1CDE0-6ED1-45F1-95DA-E0969DACE8A5}" destId="{15FEAFC3-CF70-4F3C-9079-5273AB9F4416}" srcOrd="1" destOrd="0" presId="urn:microsoft.com/office/officeart/2005/8/layout/orgChart1"/>
    <dgm:cxn modelId="{B729A425-5C88-498A-A3A7-81A444D767B6}" type="presParOf" srcId="{758C4A9F-C30E-4953-BF90-265BABA0581D}" destId="{1B178C22-EA4D-4D36-B1AF-D7FC02535957}" srcOrd="1" destOrd="0" presId="urn:microsoft.com/office/officeart/2005/8/layout/orgChart1"/>
    <dgm:cxn modelId="{5337FBC8-A9CB-4FAE-BDE5-B68D031B5316}" type="presParOf" srcId="{1B178C22-EA4D-4D36-B1AF-D7FC02535957}" destId="{4B911C8F-417C-49C0-AAE0-9CE821F23A53}" srcOrd="0" destOrd="0" presId="urn:microsoft.com/office/officeart/2005/8/layout/orgChart1"/>
    <dgm:cxn modelId="{76E0AB77-28A8-4A73-91F8-F2CB5D4CEBBE}" type="presParOf" srcId="{1B178C22-EA4D-4D36-B1AF-D7FC02535957}" destId="{345B488C-A60D-4537-A1C3-87297086D5AF}" srcOrd="1" destOrd="0" presId="urn:microsoft.com/office/officeart/2005/8/layout/orgChart1"/>
    <dgm:cxn modelId="{171FD4B2-B7CC-4932-88A5-88059A9E5089}" type="presParOf" srcId="{345B488C-A60D-4537-A1C3-87297086D5AF}" destId="{0185262F-4486-4A81-BBAD-30FA74768CFF}" srcOrd="0" destOrd="0" presId="urn:microsoft.com/office/officeart/2005/8/layout/orgChart1"/>
    <dgm:cxn modelId="{59FCF2B4-464E-40ED-9133-C55200F557DF}" type="presParOf" srcId="{0185262F-4486-4A81-BBAD-30FA74768CFF}" destId="{1F4D08F4-B6A1-4643-8643-00E57F1133EA}" srcOrd="0" destOrd="0" presId="urn:microsoft.com/office/officeart/2005/8/layout/orgChart1"/>
    <dgm:cxn modelId="{EFC79038-4FB0-4723-8990-7FA9FB8C8C36}" type="presParOf" srcId="{0185262F-4486-4A81-BBAD-30FA74768CFF}" destId="{E2E37F56-BA03-4D12-AA70-FEF5EDBA69E0}" srcOrd="1" destOrd="0" presId="urn:microsoft.com/office/officeart/2005/8/layout/orgChart1"/>
    <dgm:cxn modelId="{EEC415F6-C44F-45F6-A604-AC472EAFC54E}" type="presParOf" srcId="{345B488C-A60D-4537-A1C3-87297086D5AF}" destId="{939E656E-02D4-4484-AD78-4DB8B4666A76}" srcOrd="1" destOrd="0" presId="urn:microsoft.com/office/officeart/2005/8/layout/orgChart1"/>
    <dgm:cxn modelId="{AF61FD4D-379D-4339-9C99-48A546789CB2}" type="presParOf" srcId="{939E656E-02D4-4484-AD78-4DB8B4666A76}" destId="{5F27B44E-4915-466B-B832-3FF70F523FEB}" srcOrd="0" destOrd="0" presId="urn:microsoft.com/office/officeart/2005/8/layout/orgChart1"/>
    <dgm:cxn modelId="{F1E379AD-56F7-49A6-8C14-E228B1E128FD}" type="presParOf" srcId="{939E656E-02D4-4484-AD78-4DB8B4666A76}" destId="{5B513C3E-6329-4A1B-BFEB-1ECA2EC96EE9}" srcOrd="1" destOrd="0" presId="urn:microsoft.com/office/officeart/2005/8/layout/orgChart1"/>
    <dgm:cxn modelId="{AD5D9692-FDA5-4524-9EEE-4FB7ED79A19A}" type="presParOf" srcId="{5B513C3E-6329-4A1B-BFEB-1ECA2EC96EE9}" destId="{A545F28C-A406-4024-AFE2-62D786B723BF}" srcOrd="0" destOrd="0" presId="urn:microsoft.com/office/officeart/2005/8/layout/orgChart1"/>
    <dgm:cxn modelId="{73500928-5B2B-4744-ACB7-8CCF7D7C7DFA}" type="presParOf" srcId="{A545F28C-A406-4024-AFE2-62D786B723BF}" destId="{C79CBE1C-5BCD-423C-9518-DB48B8FD8151}" srcOrd="0" destOrd="0" presId="urn:microsoft.com/office/officeart/2005/8/layout/orgChart1"/>
    <dgm:cxn modelId="{C70FD97B-331B-4CBD-AB8E-B68418B1EA29}" type="presParOf" srcId="{A545F28C-A406-4024-AFE2-62D786B723BF}" destId="{9438E796-ECFF-45AF-BDAD-F51F38B80D1A}" srcOrd="1" destOrd="0" presId="urn:microsoft.com/office/officeart/2005/8/layout/orgChart1"/>
    <dgm:cxn modelId="{783CA409-6185-416B-BDC1-7647D06AF6FB}" type="presParOf" srcId="{5B513C3E-6329-4A1B-BFEB-1ECA2EC96EE9}" destId="{6162516E-BD21-451B-ACAE-2F0D599DC449}" srcOrd="1" destOrd="0" presId="urn:microsoft.com/office/officeart/2005/8/layout/orgChart1"/>
    <dgm:cxn modelId="{BEB52334-3E07-4010-9164-377D5D9F698C}" type="presParOf" srcId="{5B513C3E-6329-4A1B-BFEB-1ECA2EC96EE9}" destId="{70B8ECED-25A7-4C38-9712-D19C6F945148}" srcOrd="2" destOrd="0" presId="urn:microsoft.com/office/officeart/2005/8/layout/orgChart1"/>
    <dgm:cxn modelId="{F1DA78C9-2CE4-4F10-90A8-B7EB52BD9987}" type="presParOf" srcId="{939E656E-02D4-4484-AD78-4DB8B4666A76}" destId="{07F66D99-B4F5-48C7-93B8-AB3D74072266}" srcOrd="2" destOrd="0" presId="urn:microsoft.com/office/officeart/2005/8/layout/orgChart1"/>
    <dgm:cxn modelId="{2326E124-8B37-4839-88C2-1AA13D7B3B26}" type="presParOf" srcId="{939E656E-02D4-4484-AD78-4DB8B4666A76}" destId="{B72475A6-A71F-4C7F-ADD0-09334CAE0458}" srcOrd="3" destOrd="0" presId="urn:microsoft.com/office/officeart/2005/8/layout/orgChart1"/>
    <dgm:cxn modelId="{F416F012-95EE-45E2-98C9-428B1A66CB57}" type="presParOf" srcId="{B72475A6-A71F-4C7F-ADD0-09334CAE0458}" destId="{DBADEBEC-4756-4E0A-8036-A14CBFB960EB}" srcOrd="0" destOrd="0" presId="urn:microsoft.com/office/officeart/2005/8/layout/orgChart1"/>
    <dgm:cxn modelId="{4D625AF4-5A5B-4660-9EBC-49923DD37AEB}" type="presParOf" srcId="{DBADEBEC-4756-4E0A-8036-A14CBFB960EB}" destId="{8EEA6470-AFE7-4291-ACFD-8B7320266F1F}" srcOrd="0" destOrd="0" presId="urn:microsoft.com/office/officeart/2005/8/layout/orgChart1"/>
    <dgm:cxn modelId="{8868C5A7-48B0-4930-B3AF-7F1CF608494B}" type="presParOf" srcId="{DBADEBEC-4756-4E0A-8036-A14CBFB960EB}" destId="{EC5FC57E-FFD1-4726-A3E4-2553AA7909D3}" srcOrd="1" destOrd="0" presId="urn:microsoft.com/office/officeart/2005/8/layout/orgChart1"/>
    <dgm:cxn modelId="{F5F52C49-E3AD-4A4D-A30C-B8CD0732DF74}" type="presParOf" srcId="{B72475A6-A71F-4C7F-ADD0-09334CAE0458}" destId="{4D5A0297-B561-4CAE-B4AE-664240F079F6}" srcOrd="1" destOrd="0" presId="urn:microsoft.com/office/officeart/2005/8/layout/orgChart1"/>
    <dgm:cxn modelId="{2E050933-6A73-449E-BA66-06D202EF58D2}" type="presParOf" srcId="{B72475A6-A71F-4C7F-ADD0-09334CAE0458}" destId="{5C53ABD1-E59C-4483-BD92-6E2BFC55B79B}" srcOrd="2" destOrd="0" presId="urn:microsoft.com/office/officeart/2005/8/layout/orgChart1"/>
    <dgm:cxn modelId="{4A7C4F9A-D688-4D66-9D2A-2F8048CF7203}" type="presParOf" srcId="{939E656E-02D4-4484-AD78-4DB8B4666A76}" destId="{983796B0-4E24-4037-A756-23DAC096EEDD}" srcOrd="4" destOrd="0" presId="urn:microsoft.com/office/officeart/2005/8/layout/orgChart1"/>
    <dgm:cxn modelId="{7229A220-6C79-4227-9780-03EC128869D9}" type="presParOf" srcId="{939E656E-02D4-4484-AD78-4DB8B4666A76}" destId="{4F03B16F-0CD1-4F73-AE40-373E35BB09F6}" srcOrd="5" destOrd="0" presId="urn:microsoft.com/office/officeart/2005/8/layout/orgChart1"/>
    <dgm:cxn modelId="{09FBAAC1-D75B-4F48-93F9-FC90F39AF407}" type="presParOf" srcId="{4F03B16F-0CD1-4F73-AE40-373E35BB09F6}" destId="{982166F2-55D1-4F2F-ACE6-7257FB6EBFCD}" srcOrd="0" destOrd="0" presId="urn:microsoft.com/office/officeart/2005/8/layout/orgChart1"/>
    <dgm:cxn modelId="{F71987EE-5B23-4E07-BD5E-B942C6BE3F86}" type="presParOf" srcId="{982166F2-55D1-4F2F-ACE6-7257FB6EBFCD}" destId="{BDED5FC7-7ECA-4F93-98CF-FB3DDFEDBC40}" srcOrd="0" destOrd="0" presId="urn:microsoft.com/office/officeart/2005/8/layout/orgChart1"/>
    <dgm:cxn modelId="{1B439E4D-32BB-4E3C-9732-3FF52A31FABC}" type="presParOf" srcId="{982166F2-55D1-4F2F-ACE6-7257FB6EBFCD}" destId="{A35E73FB-957F-43C2-897A-B1C7D473680F}" srcOrd="1" destOrd="0" presId="urn:microsoft.com/office/officeart/2005/8/layout/orgChart1"/>
    <dgm:cxn modelId="{0B2CC485-E149-4D02-A0B8-1F790C616A0F}" type="presParOf" srcId="{4F03B16F-0CD1-4F73-AE40-373E35BB09F6}" destId="{DB20039D-E80F-45B7-BEFC-CC83647384D1}" srcOrd="1" destOrd="0" presId="urn:microsoft.com/office/officeart/2005/8/layout/orgChart1"/>
    <dgm:cxn modelId="{40B7A337-AD3C-4760-8B2E-52453C00B71F}" type="presParOf" srcId="{4F03B16F-0CD1-4F73-AE40-373E35BB09F6}" destId="{606C1A11-5207-4326-813F-D30B0337645E}" srcOrd="2" destOrd="0" presId="urn:microsoft.com/office/officeart/2005/8/layout/orgChart1"/>
    <dgm:cxn modelId="{465684BE-0141-4B3F-8682-575AC8B82608}" type="presParOf" srcId="{939E656E-02D4-4484-AD78-4DB8B4666A76}" destId="{5AC7132E-9C97-4821-9AB9-A1B5D43163E9}" srcOrd="6" destOrd="0" presId="urn:microsoft.com/office/officeart/2005/8/layout/orgChart1"/>
    <dgm:cxn modelId="{B873EBD7-7302-4E67-B377-D0AEB6E7F67E}" type="presParOf" srcId="{939E656E-02D4-4484-AD78-4DB8B4666A76}" destId="{0BA209E4-D36D-409B-80D8-7847D7F6E3CE}" srcOrd="7" destOrd="0" presId="urn:microsoft.com/office/officeart/2005/8/layout/orgChart1"/>
    <dgm:cxn modelId="{EDA386BC-B172-48CF-9D60-7FBD8C1FBCBD}" type="presParOf" srcId="{0BA209E4-D36D-409B-80D8-7847D7F6E3CE}" destId="{62AA3CB0-ABBF-4DF4-AD13-7566DE887EB4}" srcOrd="0" destOrd="0" presId="urn:microsoft.com/office/officeart/2005/8/layout/orgChart1"/>
    <dgm:cxn modelId="{3E056BF2-D5A4-4629-BF27-BBF6ABE53C0F}" type="presParOf" srcId="{62AA3CB0-ABBF-4DF4-AD13-7566DE887EB4}" destId="{D0C06A9D-9519-414B-BFF8-974E13F78F47}" srcOrd="0" destOrd="0" presId="urn:microsoft.com/office/officeart/2005/8/layout/orgChart1"/>
    <dgm:cxn modelId="{9BCD431E-08F7-4820-B4B7-5204AC81DB9C}" type="presParOf" srcId="{62AA3CB0-ABBF-4DF4-AD13-7566DE887EB4}" destId="{A88EF65C-30E4-4BAB-91D7-5FCA3657199C}" srcOrd="1" destOrd="0" presId="urn:microsoft.com/office/officeart/2005/8/layout/orgChart1"/>
    <dgm:cxn modelId="{C2F614BE-8707-466B-AF8C-45FBF88F2BEF}" type="presParOf" srcId="{0BA209E4-D36D-409B-80D8-7847D7F6E3CE}" destId="{1A509501-179F-4793-AFAC-EA635C5BE1EA}" srcOrd="1" destOrd="0" presId="urn:microsoft.com/office/officeart/2005/8/layout/orgChart1"/>
    <dgm:cxn modelId="{5476B5EF-6F71-49FC-AE50-244FBE089368}" type="presParOf" srcId="{0BA209E4-D36D-409B-80D8-7847D7F6E3CE}" destId="{45560DA3-8A58-46ED-A2B2-045EFA99D928}" srcOrd="2" destOrd="0" presId="urn:microsoft.com/office/officeart/2005/8/layout/orgChart1"/>
    <dgm:cxn modelId="{CE289DC8-98CB-432D-A3A2-9BF057F37DD6}" type="presParOf" srcId="{939E656E-02D4-4484-AD78-4DB8B4666A76}" destId="{0CBDE9EB-5821-4336-A084-BD7690A27F60}" srcOrd="8" destOrd="0" presId="urn:microsoft.com/office/officeart/2005/8/layout/orgChart1"/>
    <dgm:cxn modelId="{C8DC2813-B21A-4209-A604-687378C8E34F}" type="presParOf" srcId="{939E656E-02D4-4484-AD78-4DB8B4666A76}" destId="{D00C3EFE-24A9-474F-A311-8B3689436531}" srcOrd="9" destOrd="0" presId="urn:microsoft.com/office/officeart/2005/8/layout/orgChart1"/>
    <dgm:cxn modelId="{916E19AD-1E6B-477F-B360-D5930D114FF3}" type="presParOf" srcId="{D00C3EFE-24A9-474F-A311-8B3689436531}" destId="{97E76F27-4B03-412B-BE11-A7A8058031CA}" srcOrd="0" destOrd="0" presId="urn:microsoft.com/office/officeart/2005/8/layout/orgChart1"/>
    <dgm:cxn modelId="{A96AFF5B-B8C0-4397-9642-5B3AE1850185}" type="presParOf" srcId="{97E76F27-4B03-412B-BE11-A7A8058031CA}" destId="{90ACCBF6-8CCD-45FE-A2D6-178440392A5C}" srcOrd="0" destOrd="0" presId="urn:microsoft.com/office/officeart/2005/8/layout/orgChart1"/>
    <dgm:cxn modelId="{FF9D0BAA-AA24-4D63-8E14-08D71B946D53}" type="presParOf" srcId="{97E76F27-4B03-412B-BE11-A7A8058031CA}" destId="{0F1C5F80-8969-4F48-BD14-9FA94170E033}" srcOrd="1" destOrd="0" presId="urn:microsoft.com/office/officeart/2005/8/layout/orgChart1"/>
    <dgm:cxn modelId="{547CD29E-4414-4678-9A50-8868CC47E84B}" type="presParOf" srcId="{D00C3EFE-24A9-474F-A311-8B3689436531}" destId="{39B9E323-7C7C-438C-8EDD-E99CB8E8E4EF}" srcOrd="1" destOrd="0" presId="urn:microsoft.com/office/officeart/2005/8/layout/orgChart1"/>
    <dgm:cxn modelId="{7E3CE2CA-F6C4-4BA4-8EB1-C15D7B72E48A}" type="presParOf" srcId="{D00C3EFE-24A9-474F-A311-8B3689436531}" destId="{0F884F7E-E24C-4F19-804E-E06856C1A023}" srcOrd="2" destOrd="0" presId="urn:microsoft.com/office/officeart/2005/8/layout/orgChart1"/>
    <dgm:cxn modelId="{42865B62-5443-45B7-B2F0-B6CCBAA3D86D}" type="presParOf" srcId="{939E656E-02D4-4484-AD78-4DB8B4666A76}" destId="{E45270CA-7EFA-4078-9809-BAA2674AF486}" srcOrd="10" destOrd="0" presId="urn:microsoft.com/office/officeart/2005/8/layout/orgChart1"/>
    <dgm:cxn modelId="{879F28C8-7D43-44D6-9269-D324E48FD4EE}" type="presParOf" srcId="{939E656E-02D4-4484-AD78-4DB8B4666A76}" destId="{C88128C1-E554-425B-A701-440E541095C5}" srcOrd="11" destOrd="0" presId="urn:microsoft.com/office/officeart/2005/8/layout/orgChart1"/>
    <dgm:cxn modelId="{516173C4-2279-4965-AFF8-E1821E052850}" type="presParOf" srcId="{C88128C1-E554-425B-A701-440E541095C5}" destId="{8D4B04EC-7BEA-4103-8750-F32FAE9AE18C}" srcOrd="0" destOrd="0" presId="urn:microsoft.com/office/officeart/2005/8/layout/orgChart1"/>
    <dgm:cxn modelId="{0E4BE451-31D0-496E-B7B1-727D40DCA5E9}" type="presParOf" srcId="{8D4B04EC-7BEA-4103-8750-F32FAE9AE18C}" destId="{6DDF7D82-D646-4609-A094-3328A062DF6E}" srcOrd="0" destOrd="0" presId="urn:microsoft.com/office/officeart/2005/8/layout/orgChart1"/>
    <dgm:cxn modelId="{79799362-5834-492D-8C46-E0BC11461A9A}" type="presParOf" srcId="{8D4B04EC-7BEA-4103-8750-F32FAE9AE18C}" destId="{A7325601-2354-47E8-B1F0-A1CEABE054DC}" srcOrd="1" destOrd="0" presId="urn:microsoft.com/office/officeart/2005/8/layout/orgChart1"/>
    <dgm:cxn modelId="{9904D987-3BD0-465F-9764-823973B55E05}" type="presParOf" srcId="{C88128C1-E554-425B-A701-440E541095C5}" destId="{5892D101-FEA9-4041-9FC5-EE8E9C680763}" srcOrd="1" destOrd="0" presId="urn:microsoft.com/office/officeart/2005/8/layout/orgChart1"/>
    <dgm:cxn modelId="{A9CA4468-8439-477C-AC8D-3844881C0859}" type="presParOf" srcId="{C88128C1-E554-425B-A701-440E541095C5}" destId="{7BEACED9-F838-46DA-B68C-4710BC059988}" srcOrd="2" destOrd="0" presId="urn:microsoft.com/office/officeart/2005/8/layout/orgChart1"/>
    <dgm:cxn modelId="{68E47D0B-790B-4099-AA69-2DE2B5E25938}" type="presParOf" srcId="{345B488C-A60D-4537-A1C3-87297086D5AF}" destId="{9F5D827E-DD8E-48EA-8B98-C974923FE59A}" srcOrd="2" destOrd="0" presId="urn:microsoft.com/office/officeart/2005/8/layout/orgChart1"/>
    <dgm:cxn modelId="{CC45E38E-74BA-4F8F-8223-C4C7159079EE}" type="presParOf" srcId="{1B178C22-EA4D-4D36-B1AF-D7FC02535957}" destId="{2CCE8910-CA11-4D95-8921-8FAA0892D302}" srcOrd="2" destOrd="0" presId="urn:microsoft.com/office/officeart/2005/8/layout/orgChart1"/>
    <dgm:cxn modelId="{09DECA15-7410-46E4-BD39-2D0C3C616517}" type="presParOf" srcId="{1B178C22-EA4D-4D36-B1AF-D7FC02535957}" destId="{BA07EB2B-271B-4F43-ACB3-9D8B4BD87B45}" srcOrd="3" destOrd="0" presId="urn:microsoft.com/office/officeart/2005/8/layout/orgChart1"/>
    <dgm:cxn modelId="{E8F9C199-DA0E-4A57-99A9-D9083AFADE4A}" type="presParOf" srcId="{BA07EB2B-271B-4F43-ACB3-9D8B4BD87B45}" destId="{CB9408ED-FA9E-4480-A731-FB5E1413083F}" srcOrd="0" destOrd="0" presId="urn:microsoft.com/office/officeart/2005/8/layout/orgChart1"/>
    <dgm:cxn modelId="{97FD242B-201F-4DBE-8949-0CE43E8B0663}" type="presParOf" srcId="{CB9408ED-FA9E-4480-A731-FB5E1413083F}" destId="{CE56B94C-735A-48F5-B1DC-31EAB6128EEC}" srcOrd="0" destOrd="0" presId="urn:microsoft.com/office/officeart/2005/8/layout/orgChart1"/>
    <dgm:cxn modelId="{B83B78D3-36EA-4776-871E-A084EE70A42C}" type="presParOf" srcId="{CB9408ED-FA9E-4480-A731-FB5E1413083F}" destId="{E89B0C45-91FF-4D25-BFAB-CFB5B125FD7A}" srcOrd="1" destOrd="0" presId="urn:microsoft.com/office/officeart/2005/8/layout/orgChart1"/>
    <dgm:cxn modelId="{B28FF395-03A4-4FE6-B679-D10795808967}" type="presParOf" srcId="{BA07EB2B-271B-4F43-ACB3-9D8B4BD87B45}" destId="{E460B6B5-74F5-471F-8344-01397D461C2B}" srcOrd="1" destOrd="0" presId="urn:microsoft.com/office/officeart/2005/8/layout/orgChart1"/>
    <dgm:cxn modelId="{B2C5E1FF-EE14-49D2-8532-93FA66C9F96C}" type="presParOf" srcId="{E460B6B5-74F5-471F-8344-01397D461C2B}" destId="{A2EE17B1-5269-4D91-8EAE-84C00C476E4F}" srcOrd="0" destOrd="0" presId="urn:microsoft.com/office/officeart/2005/8/layout/orgChart1"/>
    <dgm:cxn modelId="{8623ACA4-F7D6-4D43-BD72-46724F5E002A}" type="presParOf" srcId="{E460B6B5-74F5-471F-8344-01397D461C2B}" destId="{CF136983-75A7-4BC2-BD71-04C40F42A3B4}" srcOrd="1" destOrd="0" presId="urn:microsoft.com/office/officeart/2005/8/layout/orgChart1"/>
    <dgm:cxn modelId="{4ECA0FC1-FFD4-485B-9E6D-0766BCEEB4CE}" type="presParOf" srcId="{CF136983-75A7-4BC2-BD71-04C40F42A3B4}" destId="{B8239194-CA26-475D-84B1-F067E4039A54}" srcOrd="0" destOrd="0" presId="urn:microsoft.com/office/officeart/2005/8/layout/orgChart1"/>
    <dgm:cxn modelId="{5BFF2A62-69BD-4AD4-B319-00091ECD034C}" type="presParOf" srcId="{B8239194-CA26-475D-84B1-F067E4039A54}" destId="{F5F7E505-2D9D-4770-97E1-42609DA4ACF5}" srcOrd="0" destOrd="0" presId="urn:microsoft.com/office/officeart/2005/8/layout/orgChart1"/>
    <dgm:cxn modelId="{4A400651-2B81-4A10-B660-387757E082BE}" type="presParOf" srcId="{B8239194-CA26-475D-84B1-F067E4039A54}" destId="{2DFE33DD-BC40-4FEC-BBB9-998940CB7A0B}" srcOrd="1" destOrd="0" presId="urn:microsoft.com/office/officeart/2005/8/layout/orgChart1"/>
    <dgm:cxn modelId="{53E3CEA2-BC70-4BA6-A5B3-658C0A2E65E3}" type="presParOf" srcId="{CF136983-75A7-4BC2-BD71-04C40F42A3B4}" destId="{CEB4A593-378B-4A7E-A9A7-5EFBFCBEF1F9}" srcOrd="1" destOrd="0" presId="urn:microsoft.com/office/officeart/2005/8/layout/orgChart1"/>
    <dgm:cxn modelId="{2DA0ED16-20A1-433E-A888-6E30D6D40B53}" type="presParOf" srcId="{CF136983-75A7-4BC2-BD71-04C40F42A3B4}" destId="{6CF7E79F-5E53-4C6C-B93C-71EBD53A0140}" srcOrd="2" destOrd="0" presId="urn:microsoft.com/office/officeart/2005/8/layout/orgChart1"/>
    <dgm:cxn modelId="{66F225ED-AA34-4587-AC00-0219D00D3EA4}" type="presParOf" srcId="{E460B6B5-74F5-471F-8344-01397D461C2B}" destId="{F9A8F6A6-2D0C-4B80-A155-F7CAE6A84806}" srcOrd="2" destOrd="0" presId="urn:microsoft.com/office/officeart/2005/8/layout/orgChart1"/>
    <dgm:cxn modelId="{BACEE499-5D6E-485D-92B9-ACAA57BC99B3}" type="presParOf" srcId="{E460B6B5-74F5-471F-8344-01397D461C2B}" destId="{10BF3E37-868E-45CC-93F9-FA3B02E53F7E}" srcOrd="3" destOrd="0" presId="urn:microsoft.com/office/officeart/2005/8/layout/orgChart1"/>
    <dgm:cxn modelId="{9D38D819-8698-4855-ADB0-AA3041B971DC}" type="presParOf" srcId="{10BF3E37-868E-45CC-93F9-FA3B02E53F7E}" destId="{1B2FADC9-8C5C-40B4-81C3-B63978258FBE}" srcOrd="0" destOrd="0" presId="urn:microsoft.com/office/officeart/2005/8/layout/orgChart1"/>
    <dgm:cxn modelId="{719D0827-601E-4407-B718-AC8A6A2A0700}" type="presParOf" srcId="{1B2FADC9-8C5C-40B4-81C3-B63978258FBE}" destId="{FA762EA6-3940-4136-A615-06324795D68F}" srcOrd="0" destOrd="0" presId="urn:microsoft.com/office/officeart/2005/8/layout/orgChart1"/>
    <dgm:cxn modelId="{498F080C-62A3-4597-A4DE-3F98A81C7888}" type="presParOf" srcId="{1B2FADC9-8C5C-40B4-81C3-B63978258FBE}" destId="{E99C2D6E-F9D2-4F8E-B31C-A508BF845E9A}" srcOrd="1" destOrd="0" presId="urn:microsoft.com/office/officeart/2005/8/layout/orgChart1"/>
    <dgm:cxn modelId="{F081718A-EFCD-451F-B392-896FECE64F04}" type="presParOf" srcId="{10BF3E37-868E-45CC-93F9-FA3B02E53F7E}" destId="{16C39DB7-C050-41DE-AF17-41DE84109C38}" srcOrd="1" destOrd="0" presId="urn:microsoft.com/office/officeart/2005/8/layout/orgChart1"/>
    <dgm:cxn modelId="{63532C99-ACBD-46D2-AA45-79CBE33EFA53}" type="presParOf" srcId="{10BF3E37-868E-45CC-93F9-FA3B02E53F7E}" destId="{F785D091-A59A-483F-A0AC-189E494789E8}" srcOrd="2" destOrd="0" presId="urn:microsoft.com/office/officeart/2005/8/layout/orgChart1"/>
    <dgm:cxn modelId="{6CBF20D0-92F1-4B97-BAB9-F643F0159AB2}" type="presParOf" srcId="{E460B6B5-74F5-471F-8344-01397D461C2B}" destId="{318689F4-38BD-49C3-BF24-078BB270AE7F}" srcOrd="4" destOrd="0" presId="urn:microsoft.com/office/officeart/2005/8/layout/orgChart1"/>
    <dgm:cxn modelId="{3FC9215B-42AD-46D8-85A5-CFCDD10B78B1}" type="presParOf" srcId="{E460B6B5-74F5-471F-8344-01397D461C2B}" destId="{80F82264-D083-46B3-8BA4-A117BF9C289F}" srcOrd="5" destOrd="0" presId="urn:microsoft.com/office/officeart/2005/8/layout/orgChart1"/>
    <dgm:cxn modelId="{3F9F8FD7-CB6B-4897-B5CF-ADDE5198548E}" type="presParOf" srcId="{80F82264-D083-46B3-8BA4-A117BF9C289F}" destId="{0AF36195-7756-45DE-A2D4-5CD34AA417BF}" srcOrd="0" destOrd="0" presId="urn:microsoft.com/office/officeart/2005/8/layout/orgChart1"/>
    <dgm:cxn modelId="{0E2328A9-E414-4BE5-821A-7C2DFACEA083}" type="presParOf" srcId="{0AF36195-7756-45DE-A2D4-5CD34AA417BF}" destId="{E48CBA97-491F-4650-AB97-AC64AF0CDB42}" srcOrd="0" destOrd="0" presId="urn:microsoft.com/office/officeart/2005/8/layout/orgChart1"/>
    <dgm:cxn modelId="{EAFE63F1-39A9-4B93-85F1-F21BF4F98CCD}" type="presParOf" srcId="{0AF36195-7756-45DE-A2D4-5CD34AA417BF}" destId="{E665A790-DD05-4110-AFF7-9C386768B58E}" srcOrd="1" destOrd="0" presId="urn:microsoft.com/office/officeart/2005/8/layout/orgChart1"/>
    <dgm:cxn modelId="{3E8AE9C6-2713-40EB-86F8-900229A3425E}" type="presParOf" srcId="{80F82264-D083-46B3-8BA4-A117BF9C289F}" destId="{71FEFEE6-22D1-4110-8C01-BC6BF02ECDBE}" srcOrd="1" destOrd="0" presId="urn:microsoft.com/office/officeart/2005/8/layout/orgChart1"/>
    <dgm:cxn modelId="{C326C3D0-0A6A-45C2-BDF5-F5A77CC375F8}" type="presParOf" srcId="{80F82264-D083-46B3-8BA4-A117BF9C289F}" destId="{28B17821-F24A-4175-8CD3-9B37917A9C5A}" srcOrd="2" destOrd="0" presId="urn:microsoft.com/office/officeart/2005/8/layout/orgChart1"/>
    <dgm:cxn modelId="{F77C293E-1B59-4CE8-BBB2-7877A662C324}" type="presParOf" srcId="{E460B6B5-74F5-471F-8344-01397D461C2B}" destId="{A3DE7EBE-F873-46CB-8955-E6DECCD06FFF}" srcOrd="6" destOrd="0" presId="urn:microsoft.com/office/officeart/2005/8/layout/orgChart1"/>
    <dgm:cxn modelId="{C9F0BBFB-685F-4482-A32B-DEFBA56D3CAE}" type="presParOf" srcId="{E460B6B5-74F5-471F-8344-01397D461C2B}" destId="{0DA5B4C6-5FE6-4526-AAFF-EB4DE3437376}" srcOrd="7" destOrd="0" presId="urn:microsoft.com/office/officeart/2005/8/layout/orgChart1"/>
    <dgm:cxn modelId="{D033AC78-1788-4253-9325-1F33A5AEFD46}" type="presParOf" srcId="{0DA5B4C6-5FE6-4526-AAFF-EB4DE3437376}" destId="{C951104C-DE3A-49A7-82B6-D08869DCC550}" srcOrd="0" destOrd="0" presId="urn:microsoft.com/office/officeart/2005/8/layout/orgChart1"/>
    <dgm:cxn modelId="{D398053F-FA79-4620-9F05-5AE65F5B1701}" type="presParOf" srcId="{C951104C-DE3A-49A7-82B6-D08869DCC550}" destId="{9307D0D8-28C6-42CE-B987-279A22C8F181}" srcOrd="0" destOrd="0" presId="urn:microsoft.com/office/officeart/2005/8/layout/orgChart1"/>
    <dgm:cxn modelId="{ED57B264-75DC-46D7-90BE-03F2DA37E8A6}" type="presParOf" srcId="{C951104C-DE3A-49A7-82B6-D08869DCC550}" destId="{AA4F6333-8A2A-4739-8884-3AAC1B530A12}" srcOrd="1" destOrd="0" presId="urn:microsoft.com/office/officeart/2005/8/layout/orgChart1"/>
    <dgm:cxn modelId="{C53C2155-265F-4BA4-8E78-EC42578A5A29}" type="presParOf" srcId="{0DA5B4C6-5FE6-4526-AAFF-EB4DE3437376}" destId="{BA730EDC-71E6-424E-ACD2-5AC2DEE84B11}" srcOrd="1" destOrd="0" presId="urn:microsoft.com/office/officeart/2005/8/layout/orgChart1"/>
    <dgm:cxn modelId="{E02D121C-A13A-40A9-8832-48952AC7DC94}" type="presParOf" srcId="{0DA5B4C6-5FE6-4526-AAFF-EB4DE3437376}" destId="{CFAF1621-7639-4ECB-B13B-31C76A541343}" srcOrd="2" destOrd="0" presId="urn:microsoft.com/office/officeart/2005/8/layout/orgChart1"/>
    <dgm:cxn modelId="{7A69DEDE-DD5B-4608-A86A-2E4CA311674A}" type="presParOf" srcId="{E460B6B5-74F5-471F-8344-01397D461C2B}" destId="{C93F01E3-5822-44E4-B417-6C97B4660682}" srcOrd="8" destOrd="0" presId="urn:microsoft.com/office/officeart/2005/8/layout/orgChart1"/>
    <dgm:cxn modelId="{7B73D639-899F-4C10-BA2C-9F35159E0366}" type="presParOf" srcId="{E460B6B5-74F5-471F-8344-01397D461C2B}" destId="{9F96A5C3-3F9D-4641-BDB4-E31CEE7D300A}" srcOrd="9" destOrd="0" presId="urn:microsoft.com/office/officeart/2005/8/layout/orgChart1"/>
    <dgm:cxn modelId="{B3FF30B2-8828-4C4D-AAFA-C4CF4444227C}" type="presParOf" srcId="{9F96A5C3-3F9D-4641-BDB4-E31CEE7D300A}" destId="{05BF7D3C-C78B-4913-8315-2C34EE5BF6DB}" srcOrd="0" destOrd="0" presId="urn:microsoft.com/office/officeart/2005/8/layout/orgChart1"/>
    <dgm:cxn modelId="{787FD426-70B9-4C8F-999F-02856D7B2359}" type="presParOf" srcId="{05BF7D3C-C78B-4913-8315-2C34EE5BF6DB}" destId="{8BD35391-95B9-4320-8202-838D0E00D891}" srcOrd="0" destOrd="0" presId="urn:microsoft.com/office/officeart/2005/8/layout/orgChart1"/>
    <dgm:cxn modelId="{75C2A964-6B6A-4D7F-A34C-565170A79DB9}" type="presParOf" srcId="{05BF7D3C-C78B-4913-8315-2C34EE5BF6DB}" destId="{9DF6EFBF-7296-41C6-A2FA-178DABE2BD52}" srcOrd="1" destOrd="0" presId="urn:microsoft.com/office/officeart/2005/8/layout/orgChart1"/>
    <dgm:cxn modelId="{63CD3ACC-D2DF-4A2F-A1F3-1C6113CBA9F5}" type="presParOf" srcId="{9F96A5C3-3F9D-4641-BDB4-E31CEE7D300A}" destId="{58AA4D5F-E330-4D48-80B2-4E9002DDD8C0}" srcOrd="1" destOrd="0" presId="urn:microsoft.com/office/officeart/2005/8/layout/orgChart1"/>
    <dgm:cxn modelId="{B7ED465D-2F03-4101-8E85-1905F0D6BD00}" type="presParOf" srcId="{9F96A5C3-3F9D-4641-BDB4-E31CEE7D300A}" destId="{1FFD3A23-350B-47D9-8BC8-9119B4F91E66}" srcOrd="2" destOrd="0" presId="urn:microsoft.com/office/officeart/2005/8/layout/orgChart1"/>
    <dgm:cxn modelId="{B49995EF-8CAD-465E-8EBD-4F20AEE2CF42}" type="presParOf" srcId="{BA07EB2B-271B-4F43-ACB3-9D8B4BD87B45}" destId="{46996C6C-81C9-4462-8850-89C6464A11B3}" srcOrd="2" destOrd="0" presId="urn:microsoft.com/office/officeart/2005/8/layout/orgChart1"/>
    <dgm:cxn modelId="{EE579886-A512-442E-8556-4C32D3499027}" type="presParOf" srcId="{758C4A9F-C30E-4953-BF90-265BABA0581D}" destId="{2614C827-FB91-461A-A733-F1E13A0FE48A}" srcOrd="2" destOrd="0" presId="urn:microsoft.com/office/officeart/2005/8/layout/orgChart1"/>
    <dgm:cxn modelId="{ADA73EBB-74C1-4C61-AD6A-BF3CF1BE4BF0}" type="presParOf" srcId="{FAE866CE-561F-4C3A-9064-6F1D0BD6CF34}" destId="{26B8BE0C-B6B2-41D8-9DFA-F1DA7BCA117F}" srcOrd="2" destOrd="0" presId="urn:microsoft.com/office/officeart/2005/8/layout/orgChart1"/>
    <dgm:cxn modelId="{9861576F-03EF-461A-AC22-C20797F326D3}" type="presParOf" srcId="{FAE866CE-561F-4C3A-9064-6F1D0BD6CF34}" destId="{AB1EF0A5-1D70-43F0-82CC-EF14CE76CFC0}" srcOrd="3" destOrd="0" presId="urn:microsoft.com/office/officeart/2005/8/layout/orgChart1"/>
    <dgm:cxn modelId="{7EBD9F39-96C7-469E-BAB2-7256BE65E7BF}" type="presParOf" srcId="{AB1EF0A5-1D70-43F0-82CC-EF14CE76CFC0}" destId="{41F6E431-DC8B-416E-A517-9DD10D1E79A3}" srcOrd="0" destOrd="0" presId="urn:microsoft.com/office/officeart/2005/8/layout/orgChart1"/>
    <dgm:cxn modelId="{054A5DB2-A43E-462C-B33E-315FB976C47C}" type="presParOf" srcId="{41F6E431-DC8B-416E-A517-9DD10D1E79A3}" destId="{E180F611-3F02-473E-B8B3-2F7FCC74AF64}" srcOrd="0" destOrd="0" presId="urn:microsoft.com/office/officeart/2005/8/layout/orgChart1"/>
    <dgm:cxn modelId="{6B966476-1091-41F0-9D4A-A188E6D199F9}" type="presParOf" srcId="{41F6E431-DC8B-416E-A517-9DD10D1E79A3}" destId="{D8C76C5F-CACD-4BE9-9210-01DA99ABE337}" srcOrd="1" destOrd="0" presId="urn:microsoft.com/office/officeart/2005/8/layout/orgChart1"/>
    <dgm:cxn modelId="{CDEB04A0-19CF-42E6-A7DE-5479508A855A}" type="presParOf" srcId="{AB1EF0A5-1D70-43F0-82CC-EF14CE76CFC0}" destId="{94DF78DD-6BB2-4482-A3AF-4FDE94ED955D}" srcOrd="1" destOrd="0" presId="urn:microsoft.com/office/officeart/2005/8/layout/orgChart1"/>
    <dgm:cxn modelId="{7831FDCC-8E8A-47D5-9EA6-298BB1202943}" type="presParOf" srcId="{94DF78DD-6BB2-4482-A3AF-4FDE94ED955D}" destId="{5334F2DE-F338-4A4E-8CF6-77E2FD3A717B}" srcOrd="0" destOrd="0" presId="urn:microsoft.com/office/officeart/2005/8/layout/orgChart1"/>
    <dgm:cxn modelId="{D876ED94-D938-4635-9A66-1BCFDFACF468}" type="presParOf" srcId="{94DF78DD-6BB2-4482-A3AF-4FDE94ED955D}" destId="{A9A5D547-0429-4E12-97BC-9BF78EDB3169}" srcOrd="1" destOrd="0" presId="urn:microsoft.com/office/officeart/2005/8/layout/orgChart1"/>
    <dgm:cxn modelId="{74ADF9F2-49F4-447A-9B2E-D6EB006FB81E}" type="presParOf" srcId="{A9A5D547-0429-4E12-97BC-9BF78EDB3169}" destId="{5AC9DEDE-4613-4EF1-B6D6-F51276FC13AE}" srcOrd="0" destOrd="0" presId="urn:microsoft.com/office/officeart/2005/8/layout/orgChart1"/>
    <dgm:cxn modelId="{2BB75CAF-6293-4FC4-8455-34AFE401FB61}" type="presParOf" srcId="{5AC9DEDE-4613-4EF1-B6D6-F51276FC13AE}" destId="{72BE5304-752C-4167-B03F-5A6E23A69990}" srcOrd="0" destOrd="0" presId="urn:microsoft.com/office/officeart/2005/8/layout/orgChart1"/>
    <dgm:cxn modelId="{9EC10A23-0D10-4383-96CC-A13AA77318E7}" type="presParOf" srcId="{5AC9DEDE-4613-4EF1-B6D6-F51276FC13AE}" destId="{715A2952-F3DA-4A02-ACE8-7C57C9B40431}" srcOrd="1" destOrd="0" presId="urn:microsoft.com/office/officeart/2005/8/layout/orgChart1"/>
    <dgm:cxn modelId="{DDDD39A7-7FBF-4190-9817-4CA5C989E86F}" type="presParOf" srcId="{A9A5D547-0429-4E12-97BC-9BF78EDB3169}" destId="{13D1BA56-B39D-49BF-BF44-0E6A02BF521B}" srcOrd="1" destOrd="0" presId="urn:microsoft.com/office/officeart/2005/8/layout/orgChart1"/>
    <dgm:cxn modelId="{DBE31D84-2FAE-48AE-9B9B-F6E4F640727A}" type="presParOf" srcId="{13D1BA56-B39D-49BF-BF44-0E6A02BF521B}" destId="{6C59BE90-8A13-4704-9367-E91AC7A75F0B}" srcOrd="0" destOrd="0" presId="urn:microsoft.com/office/officeart/2005/8/layout/orgChart1"/>
    <dgm:cxn modelId="{7612505D-364C-4F54-A60F-C28925CEB6C8}" type="presParOf" srcId="{13D1BA56-B39D-49BF-BF44-0E6A02BF521B}" destId="{0F770B02-F6D0-4D7B-AD59-E4DDAA7BBE25}" srcOrd="1" destOrd="0" presId="urn:microsoft.com/office/officeart/2005/8/layout/orgChart1"/>
    <dgm:cxn modelId="{C5CAD965-9E98-4508-8E1C-6055D6E21EA5}" type="presParOf" srcId="{0F770B02-F6D0-4D7B-AD59-E4DDAA7BBE25}" destId="{785C12E3-7B0C-4835-B07F-FD69D1AC0571}" srcOrd="0" destOrd="0" presId="urn:microsoft.com/office/officeart/2005/8/layout/orgChart1"/>
    <dgm:cxn modelId="{B1A06E22-6EA2-4F57-B3BC-2D15AE200E67}" type="presParOf" srcId="{785C12E3-7B0C-4835-B07F-FD69D1AC0571}" destId="{EF7362E5-E6E8-41B8-BEAF-EEAD6195ADB6}" srcOrd="0" destOrd="0" presId="urn:microsoft.com/office/officeart/2005/8/layout/orgChart1"/>
    <dgm:cxn modelId="{A341AFB8-4BE6-4F52-8D3E-9E9035315FEE}" type="presParOf" srcId="{785C12E3-7B0C-4835-B07F-FD69D1AC0571}" destId="{D8FC26CB-72A7-4E2F-A201-F28F11841DA8}" srcOrd="1" destOrd="0" presId="urn:microsoft.com/office/officeart/2005/8/layout/orgChart1"/>
    <dgm:cxn modelId="{C0923E14-89FD-4B40-BD60-E156A0E137BE}" type="presParOf" srcId="{0F770B02-F6D0-4D7B-AD59-E4DDAA7BBE25}" destId="{668A6F47-67D9-43B5-A34A-5E43C24DFC0F}" srcOrd="1" destOrd="0" presId="urn:microsoft.com/office/officeart/2005/8/layout/orgChart1"/>
    <dgm:cxn modelId="{C667CC85-88EE-4FA4-B367-3C64C59C1CF3}" type="presParOf" srcId="{0F770B02-F6D0-4D7B-AD59-E4DDAA7BBE25}" destId="{2CE67411-D5FF-4332-A41B-0D2F8BDC1639}" srcOrd="2" destOrd="0" presId="urn:microsoft.com/office/officeart/2005/8/layout/orgChart1"/>
    <dgm:cxn modelId="{24DAD1D5-6B08-4460-986D-C1502F81EF0F}" type="presParOf" srcId="{13D1BA56-B39D-49BF-BF44-0E6A02BF521B}" destId="{281EE699-AAC5-4334-987D-753B1F4AC9A0}" srcOrd="2" destOrd="0" presId="urn:microsoft.com/office/officeart/2005/8/layout/orgChart1"/>
    <dgm:cxn modelId="{C07EAB4B-170F-47D4-8326-CCBDBCB0A270}" type="presParOf" srcId="{13D1BA56-B39D-49BF-BF44-0E6A02BF521B}" destId="{95B9E142-D57D-4228-AF03-738B1632E56F}" srcOrd="3" destOrd="0" presId="urn:microsoft.com/office/officeart/2005/8/layout/orgChart1"/>
    <dgm:cxn modelId="{B82F5A18-02F3-49E9-AC33-662A89B3D72E}" type="presParOf" srcId="{95B9E142-D57D-4228-AF03-738B1632E56F}" destId="{81E6054B-790D-4C44-8FD7-34D4BE71CA27}" srcOrd="0" destOrd="0" presId="urn:microsoft.com/office/officeart/2005/8/layout/orgChart1"/>
    <dgm:cxn modelId="{60CF6AE4-6C3A-44DB-A5F7-61B7D2C943B9}" type="presParOf" srcId="{81E6054B-790D-4C44-8FD7-34D4BE71CA27}" destId="{71B521A9-878F-41A1-8364-290A0A9B4615}" srcOrd="0" destOrd="0" presId="urn:microsoft.com/office/officeart/2005/8/layout/orgChart1"/>
    <dgm:cxn modelId="{3D5BD108-C446-4266-BC71-5F2F38EBD2CA}" type="presParOf" srcId="{81E6054B-790D-4C44-8FD7-34D4BE71CA27}" destId="{17B00065-1171-40DE-9B0F-689010D7168B}" srcOrd="1" destOrd="0" presId="urn:microsoft.com/office/officeart/2005/8/layout/orgChart1"/>
    <dgm:cxn modelId="{27844A23-A9DC-416F-9440-09CFF2CF20BB}" type="presParOf" srcId="{95B9E142-D57D-4228-AF03-738B1632E56F}" destId="{404F5DF8-41AD-4139-99FE-8574824C2CB3}" srcOrd="1" destOrd="0" presId="urn:microsoft.com/office/officeart/2005/8/layout/orgChart1"/>
    <dgm:cxn modelId="{F9620041-207F-44E0-87A7-8473A36C9960}" type="presParOf" srcId="{95B9E142-D57D-4228-AF03-738B1632E56F}" destId="{6470222A-F503-4C23-9548-A2136684682A}" srcOrd="2" destOrd="0" presId="urn:microsoft.com/office/officeart/2005/8/layout/orgChart1"/>
    <dgm:cxn modelId="{70B25658-8634-48E8-96AD-B3F0CA9B761A}" type="presParOf" srcId="{13D1BA56-B39D-49BF-BF44-0E6A02BF521B}" destId="{609D9515-FD68-488F-BAB0-2D65B595BA72}" srcOrd="4" destOrd="0" presId="urn:microsoft.com/office/officeart/2005/8/layout/orgChart1"/>
    <dgm:cxn modelId="{03CEFE00-318F-4202-A6BD-1D5DC791BA16}" type="presParOf" srcId="{13D1BA56-B39D-49BF-BF44-0E6A02BF521B}" destId="{98C5906E-33D2-46DE-9D4E-97B6C073748D}" srcOrd="5" destOrd="0" presId="urn:microsoft.com/office/officeart/2005/8/layout/orgChart1"/>
    <dgm:cxn modelId="{9EEDF0CD-408C-43BD-98B4-668148081739}" type="presParOf" srcId="{98C5906E-33D2-46DE-9D4E-97B6C073748D}" destId="{BEA75AD3-7E2F-4F0F-B610-5F51985F5B4D}" srcOrd="0" destOrd="0" presId="urn:microsoft.com/office/officeart/2005/8/layout/orgChart1"/>
    <dgm:cxn modelId="{EE0A65ED-895C-4584-BCC3-5F5FB684F271}" type="presParOf" srcId="{BEA75AD3-7E2F-4F0F-B610-5F51985F5B4D}" destId="{FB709349-E6D3-41D4-81B7-0F67304A6EFE}" srcOrd="0" destOrd="0" presId="urn:microsoft.com/office/officeart/2005/8/layout/orgChart1"/>
    <dgm:cxn modelId="{9017AFA1-91D1-4053-8A85-3BF2F139D0F4}" type="presParOf" srcId="{BEA75AD3-7E2F-4F0F-B610-5F51985F5B4D}" destId="{790C1FBB-4319-4B98-A874-713788B861D2}" srcOrd="1" destOrd="0" presId="urn:microsoft.com/office/officeart/2005/8/layout/orgChart1"/>
    <dgm:cxn modelId="{41B8DCDB-5E57-41E5-8328-E930B7255137}" type="presParOf" srcId="{98C5906E-33D2-46DE-9D4E-97B6C073748D}" destId="{5647D0D9-2DCD-45ED-9A48-FD61173D6EB6}" srcOrd="1" destOrd="0" presId="urn:microsoft.com/office/officeart/2005/8/layout/orgChart1"/>
    <dgm:cxn modelId="{631BB46D-8691-4C28-95C3-788BA3131A16}" type="presParOf" srcId="{98C5906E-33D2-46DE-9D4E-97B6C073748D}" destId="{12F11F38-F95D-4B7E-BBAA-E023980C9456}" srcOrd="2" destOrd="0" presId="urn:microsoft.com/office/officeart/2005/8/layout/orgChart1"/>
    <dgm:cxn modelId="{D6C90765-B672-45F8-AD0A-21A2C370E980}" type="presParOf" srcId="{13D1BA56-B39D-49BF-BF44-0E6A02BF521B}" destId="{CB2A7D91-AEA7-4DBA-86ED-7C04CF0853E4}" srcOrd="6" destOrd="0" presId="urn:microsoft.com/office/officeart/2005/8/layout/orgChart1"/>
    <dgm:cxn modelId="{E7FC93F6-97C1-48C6-90CA-7128EA624B39}" type="presParOf" srcId="{13D1BA56-B39D-49BF-BF44-0E6A02BF521B}" destId="{194B7055-162D-4894-BCA3-85D7093BB6A5}" srcOrd="7" destOrd="0" presId="urn:microsoft.com/office/officeart/2005/8/layout/orgChart1"/>
    <dgm:cxn modelId="{1EC53145-E464-443E-8405-C7C82EF15846}" type="presParOf" srcId="{194B7055-162D-4894-BCA3-85D7093BB6A5}" destId="{F6E77B86-AA89-46C4-B178-D940D581777E}" srcOrd="0" destOrd="0" presId="urn:microsoft.com/office/officeart/2005/8/layout/orgChart1"/>
    <dgm:cxn modelId="{196968EF-BC4D-42A4-B926-6A1BE34377A9}" type="presParOf" srcId="{F6E77B86-AA89-46C4-B178-D940D581777E}" destId="{A588C842-F20A-4AA8-85DA-6ACC4DA2A93E}" srcOrd="0" destOrd="0" presId="urn:microsoft.com/office/officeart/2005/8/layout/orgChart1"/>
    <dgm:cxn modelId="{FEB09FEF-BA92-43EA-8C03-CB6561B5483F}" type="presParOf" srcId="{F6E77B86-AA89-46C4-B178-D940D581777E}" destId="{FA714205-4B82-446D-B68E-7F652DFBEEDA}" srcOrd="1" destOrd="0" presId="urn:microsoft.com/office/officeart/2005/8/layout/orgChart1"/>
    <dgm:cxn modelId="{019EC97E-F2FE-4D31-966E-BACDE47C61EA}" type="presParOf" srcId="{194B7055-162D-4894-BCA3-85D7093BB6A5}" destId="{254E1AFD-68D8-4CBA-BAAB-6F6D0100BF33}" srcOrd="1" destOrd="0" presId="urn:microsoft.com/office/officeart/2005/8/layout/orgChart1"/>
    <dgm:cxn modelId="{F45A4FAD-C5F7-4F0E-9C94-23CEE3173D50}" type="presParOf" srcId="{194B7055-162D-4894-BCA3-85D7093BB6A5}" destId="{CFC8C733-7AB4-49EB-BB58-6B6F51F07E9E}" srcOrd="2" destOrd="0" presId="urn:microsoft.com/office/officeart/2005/8/layout/orgChart1"/>
    <dgm:cxn modelId="{0AF7EDD2-510B-4777-8082-B4A4F3104C63}" type="presParOf" srcId="{A9A5D547-0429-4E12-97BC-9BF78EDB3169}" destId="{110A4BBE-9AD3-4F88-805A-74C44471A4C4}" srcOrd="2" destOrd="0" presId="urn:microsoft.com/office/officeart/2005/8/layout/orgChart1"/>
    <dgm:cxn modelId="{0FF3AB27-7BF1-4793-A155-A5C22F701F07}" type="presParOf" srcId="{94DF78DD-6BB2-4482-A3AF-4FDE94ED955D}" destId="{7BA5241B-B7BC-41D5-A4B6-BA92111D315F}" srcOrd="2" destOrd="0" presId="urn:microsoft.com/office/officeart/2005/8/layout/orgChart1"/>
    <dgm:cxn modelId="{21BC1678-0492-4743-A776-6B9F812B4A59}" type="presParOf" srcId="{94DF78DD-6BB2-4482-A3AF-4FDE94ED955D}" destId="{F02CA21B-9BF1-4847-B602-7E3033591FB0}" srcOrd="3" destOrd="0" presId="urn:microsoft.com/office/officeart/2005/8/layout/orgChart1"/>
    <dgm:cxn modelId="{14F74172-7790-4653-B6A5-9FDEF7F4DF16}" type="presParOf" srcId="{F02CA21B-9BF1-4847-B602-7E3033591FB0}" destId="{610B5BB3-81B4-4650-8FF6-B9772C012216}" srcOrd="0" destOrd="0" presId="urn:microsoft.com/office/officeart/2005/8/layout/orgChart1"/>
    <dgm:cxn modelId="{28A18CE5-0B33-4525-A36D-0D87BBB58452}" type="presParOf" srcId="{610B5BB3-81B4-4650-8FF6-B9772C012216}" destId="{AFC578FC-B6A9-4C9D-AE35-14F58D2A2F77}" srcOrd="0" destOrd="0" presId="urn:microsoft.com/office/officeart/2005/8/layout/orgChart1"/>
    <dgm:cxn modelId="{E2B0306D-426C-46C0-98B1-E1BDCC47A591}" type="presParOf" srcId="{610B5BB3-81B4-4650-8FF6-B9772C012216}" destId="{35C3C7FB-1F8E-481E-829E-CA0E11A2D271}" srcOrd="1" destOrd="0" presId="urn:microsoft.com/office/officeart/2005/8/layout/orgChart1"/>
    <dgm:cxn modelId="{91AC613F-3560-400F-A497-2CB9490946B2}" type="presParOf" srcId="{F02CA21B-9BF1-4847-B602-7E3033591FB0}" destId="{B61ADD01-CAB2-4F58-9E94-92AC852C2E36}" srcOrd="1" destOrd="0" presId="urn:microsoft.com/office/officeart/2005/8/layout/orgChart1"/>
    <dgm:cxn modelId="{FF12F043-428B-49EE-89B8-70FE26022C7F}" type="presParOf" srcId="{B61ADD01-CAB2-4F58-9E94-92AC852C2E36}" destId="{FBFD23C5-1602-4A2F-AD09-F68FE1E1AEEE}" srcOrd="0" destOrd="0" presId="urn:microsoft.com/office/officeart/2005/8/layout/orgChart1"/>
    <dgm:cxn modelId="{C2120F61-8CC9-4CD6-97EA-2D5BE617584D}" type="presParOf" srcId="{B61ADD01-CAB2-4F58-9E94-92AC852C2E36}" destId="{F07F6452-B2BC-410B-8B64-CD15C5F817A3}" srcOrd="1" destOrd="0" presId="urn:microsoft.com/office/officeart/2005/8/layout/orgChart1"/>
    <dgm:cxn modelId="{FA8CA8B4-CDCF-491A-BC0E-F2C4BE35A042}" type="presParOf" srcId="{F07F6452-B2BC-410B-8B64-CD15C5F817A3}" destId="{B13BAC62-D2A4-4E47-837E-0012EA7255A2}" srcOrd="0" destOrd="0" presId="urn:microsoft.com/office/officeart/2005/8/layout/orgChart1"/>
    <dgm:cxn modelId="{624D9ECA-7D84-4135-BAB1-953194ED993E}" type="presParOf" srcId="{B13BAC62-D2A4-4E47-837E-0012EA7255A2}" destId="{10893535-E133-4731-B500-FBF09351815B}" srcOrd="0" destOrd="0" presId="urn:microsoft.com/office/officeart/2005/8/layout/orgChart1"/>
    <dgm:cxn modelId="{9C07E59E-57A6-4FE1-BB08-8A796D28A35D}" type="presParOf" srcId="{B13BAC62-D2A4-4E47-837E-0012EA7255A2}" destId="{02FD715C-0AB6-451C-8869-4951DD781340}" srcOrd="1" destOrd="0" presId="urn:microsoft.com/office/officeart/2005/8/layout/orgChart1"/>
    <dgm:cxn modelId="{BAA76218-3A85-4A3F-9D52-A2CE2F8395A4}" type="presParOf" srcId="{F07F6452-B2BC-410B-8B64-CD15C5F817A3}" destId="{29BD2C48-5DD0-4DA0-8A01-DEFBFD05A0DC}" srcOrd="1" destOrd="0" presId="urn:microsoft.com/office/officeart/2005/8/layout/orgChart1"/>
    <dgm:cxn modelId="{924E500F-320D-4AD3-A24A-62C1E7A6FE84}" type="presParOf" srcId="{F07F6452-B2BC-410B-8B64-CD15C5F817A3}" destId="{5E1CB73C-B68D-44C0-8942-A3C1E8734B65}" srcOrd="2" destOrd="0" presId="urn:microsoft.com/office/officeart/2005/8/layout/orgChart1"/>
    <dgm:cxn modelId="{42729119-4E09-434E-88F0-EC561065BF28}" type="presParOf" srcId="{B61ADD01-CAB2-4F58-9E94-92AC852C2E36}" destId="{88564183-0CC7-4C92-BE75-FB1FDE2DB88B}" srcOrd="2" destOrd="0" presId="urn:microsoft.com/office/officeart/2005/8/layout/orgChart1"/>
    <dgm:cxn modelId="{E1608A03-B496-400E-931F-2EAB0F5D1E29}" type="presParOf" srcId="{B61ADD01-CAB2-4F58-9E94-92AC852C2E36}" destId="{B6322A0D-4E89-45E2-A6BE-BD8E4882D23F}" srcOrd="3" destOrd="0" presId="urn:microsoft.com/office/officeart/2005/8/layout/orgChart1"/>
    <dgm:cxn modelId="{5DBE4756-BF28-4269-970C-438BBC37A8D1}" type="presParOf" srcId="{B6322A0D-4E89-45E2-A6BE-BD8E4882D23F}" destId="{12897839-7BAC-4605-9AAA-19E700A97FE0}" srcOrd="0" destOrd="0" presId="urn:microsoft.com/office/officeart/2005/8/layout/orgChart1"/>
    <dgm:cxn modelId="{27D1EC78-D708-45C7-8703-9E7CEFBFA5EA}" type="presParOf" srcId="{12897839-7BAC-4605-9AAA-19E700A97FE0}" destId="{CD140378-386D-4430-9B29-B12CE2D6642D}" srcOrd="0" destOrd="0" presId="urn:microsoft.com/office/officeart/2005/8/layout/orgChart1"/>
    <dgm:cxn modelId="{3ECA9253-5D89-476C-B504-8E7984146A0D}" type="presParOf" srcId="{12897839-7BAC-4605-9AAA-19E700A97FE0}" destId="{9922B4C0-BC02-4390-A8A7-3FC24BEE6EB1}" srcOrd="1" destOrd="0" presId="urn:microsoft.com/office/officeart/2005/8/layout/orgChart1"/>
    <dgm:cxn modelId="{BE92F24C-2BCD-4036-A71D-8277647364A0}" type="presParOf" srcId="{B6322A0D-4E89-45E2-A6BE-BD8E4882D23F}" destId="{2B626E0D-4038-4F9C-B0CF-E811F620E6A5}" srcOrd="1" destOrd="0" presId="urn:microsoft.com/office/officeart/2005/8/layout/orgChart1"/>
    <dgm:cxn modelId="{AD9BA8E3-EB8A-4B22-8921-7400A7C04347}" type="presParOf" srcId="{B6322A0D-4E89-45E2-A6BE-BD8E4882D23F}" destId="{B0188713-7CA8-4818-AB97-7C0B2D09FF2D}" srcOrd="2" destOrd="0" presId="urn:microsoft.com/office/officeart/2005/8/layout/orgChart1"/>
    <dgm:cxn modelId="{3CA2453A-146A-4298-B600-670168DEB24B}" type="presParOf" srcId="{B61ADD01-CAB2-4F58-9E94-92AC852C2E36}" destId="{61797818-CEEC-4010-8640-642C09CE825D}" srcOrd="4" destOrd="0" presId="urn:microsoft.com/office/officeart/2005/8/layout/orgChart1"/>
    <dgm:cxn modelId="{36DFC773-9A5A-4167-8240-8184C1EC42AF}" type="presParOf" srcId="{B61ADD01-CAB2-4F58-9E94-92AC852C2E36}" destId="{6052B995-86E7-417F-98C4-842F053A3C66}" srcOrd="5" destOrd="0" presId="urn:microsoft.com/office/officeart/2005/8/layout/orgChart1"/>
    <dgm:cxn modelId="{4108F5B5-61B7-4D6E-90F1-89656238DAF3}" type="presParOf" srcId="{6052B995-86E7-417F-98C4-842F053A3C66}" destId="{2542807D-F24E-4088-851A-73705021F92E}" srcOrd="0" destOrd="0" presId="urn:microsoft.com/office/officeart/2005/8/layout/orgChart1"/>
    <dgm:cxn modelId="{804F3773-67C2-423D-818B-221B8D2141EF}" type="presParOf" srcId="{2542807D-F24E-4088-851A-73705021F92E}" destId="{4E3B5942-48DC-4E61-A9E8-CBF6E9B1B977}" srcOrd="0" destOrd="0" presId="urn:microsoft.com/office/officeart/2005/8/layout/orgChart1"/>
    <dgm:cxn modelId="{B27DFDA3-D20E-4549-8475-04FDDB7DB159}" type="presParOf" srcId="{2542807D-F24E-4088-851A-73705021F92E}" destId="{D1C6E5F2-957F-4A86-84F2-A5705BB91D62}" srcOrd="1" destOrd="0" presId="urn:microsoft.com/office/officeart/2005/8/layout/orgChart1"/>
    <dgm:cxn modelId="{EAF541B8-154E-4C3B-B710-28B76BD84BC0}" type="presParOf" srcId="{6052B995-86E7-417F-98C4-842F053A3C66}" destId="{1986724B-73DA-4153-AF4E-21046FE12271}" srcOrd="1" destOrd="0" presId="urn:microsoft.com/office/officeart/2005/8/layout/orgChart1"/>
    <dgm:cxn modelId="{0D6DFE76-9C5A-43F4-B98A-D565440F8765}" type="presParOf" srcId="{6052B995-86E7-417F-98C4-842F053A3C66}" destId="{E54F4674-BDA0-4A27-9A2F-2327E8FB5042}" srcOrd="2" destOrd="0" presId="urn:microsoft.com/office/officeart/2005/8/layout/orgChart1"/>
    <dgm:cxn modelId="{03EAB41D-AB52-4FF6-9F35-51AA9BE28C75}" type="presParOf" srcId="{B61ADD01-CAB2-4F58-9E94-92AC852C2E36}" destId="{E5E98410-234D-44E6-98BF-7874D840463A}" srcOrd="6" destOrd="0" presId="urn:microsoft.com/office/officeart/2005/8/layout/orgChart1"/>
    <dgm:cxn modelId="{EA2F0359-4D08-4647-A15C-14A6AE374673}" type="presParOf" srcId="{B61ADD01-CAB2-4F58-9E94-92AC852C2E36}" destId="{72B8C88F-27F8-4D35-A29D-6A25DC1FD0BA}" srcOrd="7" destOrd="0" presId="urn:microsoft.com/office/officeart/2005/8/layout/orgChart1"/>
    <dgm:cxn modelId="{FACC6378-6865-4F16-A6B2-EDC6D37ADA1D}" type="presParOf" srcId="{72B8C88F-27F8-4D35-A29D-6A25DC1FD0BA}" destId="{0D0ACDCE-850F-479A-A565-85F4BF3BDFF9}" srcOrd="0" destOrd="0" presId="urn:microsoft.com/office/officeart/2005/8/layout/orgChart1"/>
    <dgm:cxn modelId="{9ADE3164-1B55-4B1E-8760-4A3C3CBE3CAE}" type="presParOf" srcId="{0D0ACDCE-850F-479A-A565-85F4BF3BDFF9}" destId="{1C01B158-6877-41F6-B07E-1C9B8910083F}" srcOrd="0" destOrd="0" presId="urn:microsoft.com/office/officeart/2005/8/layout/orgChart1"/>
    <dgm:cxn modelId="{3965B13D-1BB2-44CC-AFBB-9E058D844FDA}" type="presParOf" srcId="{0D0ACDCE-850F-479A-A565-85F4BF3BDFF9}" destId="{557C00F6-D5CE-41A2-9D30-B1571F02F3F3}" srcOrd="1" destOrd="0" presId="urn:microsoft.com/office/officeart/2005/8/layout/orgChart1"/>
    <dgm:cxn modelId="{50FDB52F-1B4F-49C3-8E83-97A8F9B1A4CA}" type="presParOf" srcId="{72B8C88F-27F8-4D35-A29D-6A25DC1FD0BA}" destId="{4D237B38-E05F-4F82-9D23-0DC80F257684}" srcOrd="1" destOrd="0" presId="urn:microsoft.com/office/officeart/2005/8/layout/orgChart1"/>
    <dgm:cxn modelId="{39AB774F-DBAC-487F-95F2-C1861C056287}" type="presParOf" srcId="{72B8C88F-27F8-4D35-A29D-6A25DC1FD0BA}" destId="{B85E4D0E-C449-443B-BDCC-FF6086E043F4}" srcOrd="2" destOrd="0" presId="urn:microsoft.com/office/officeart/2005/8/layout/orgChart1"/>
    <dgm:cxn modelId="{92827F26-B1E2-46F8-940B-6AE568584BB9}" type="presParOf" srcId="{F02CA21B-9BF1-4847-B602-7E3033591FB0}" destId="{66BD66DD-91D0-4B6A-9A3F-0FF66E38C459}" srcOrd="2" destOrd="0" presId="urn:microsoft.com/office/officeart/2005/8/layout/orgChart1"/>
    <dgm:cxn modelId="{A53350B7-F619-4807-B98F-B48EF1880161}" type="presParOf" srcId="{AB1EF0A5-1D70-43F0-82CC-EF14CE76CFC0}" destId="{B3E393F5-FE99-47D6-B42A-2E679DAAB0C6}" srcOrd="2" destOrd="0" presId="urn:microsoft.com/office/officeart/2005/8/layout/orgChart1"/>
    <dgm:cxn modelId="{A78DB801-7B8E-4991-BFEB-E090B63DFE32}" type="presParOf" srcId="{FAE866CE-561F-4C3A-9064-6F1D0BD6CF34}" destId="{0233A6CF-7EEC-421E-B96A-C07F48BA9812}" srcOrd="4" destOrd="0" presId="urn:microsoft.com/office/officeart/2005/8/layout/orgChart1"/>
    <dgm:cxn modelId="{C4D53C91-67F4-4468-8893-81F2932BC5C7}" type="presParOf" srcId="{FAE866CE-561F-4C3A-9064-6F1D0BD6CF34}" destId="{81237E68-2254-43FC-87BC-1A4334CA33CE}" srcOrd="5" destOrd="0" presId="urn:microsoft.com/office/officeart/2005/8/layout/orgChart1"/>
    <dgm:cxn modelId="{35854BEC-9DD1-4A30-A0F6-67CAF3773691}" type="presParOf" srcId="{81237E68-2254-43FC-87BC-1A4334CA33CE}" destId="{0995D70B-1346-4E84-8320-BF3BDF64306A}" srcOrd="0" destOrd="0" presId="urn:microsoft.com/office/officeart/2005/8/layout/orgChart1"/>
    <dgm:cxn modelId="{74169807-67D4-4DC7-A7AA-6B8238B65B38}" type="presParOf" srcId="{0995D70B-1346-4E84-8320-BF3BDF64306A}" destId="{6C266D4A-78B1-4036-AB88-E9116B80F397}" srcOrd="0" destOrd="0" presId="urn:microsoft.com/office/officeart/2005/8/layout/orgChart1"/>
    <dgm:cxn modelId="{A09A591A-BDE6-4FA3-B491-B6DD2217A02F}" type="presParOf" srcId="{0995D70B-1346-4E84-8320-BF3BDF64306A}" destId="{A6D3E597-B372-44EB-913D-AEF1C0E233C2}" srcOrd="1" destOrd="0" presId="urn:microsoft.com/office/officeart/2005/8/layout/orgChart1"/>
    <dgm:cxn modelId="{F2851E74-09BD-4DA2-BC51-8B48FD3F2CD8}" type="presParOf" srcId="{81237E68-2254-43FC-87BC-1A4334CA33CE}" destId="{762F1E0C-E6C9-49C2-96E1-3368567F5E9C}" srcOrd="1" destOrd="0" presId="urn:microsoft.com/office/officeart/2005/8/layout/orgChart1"/>
    <dgm:cxn modelId="{F87CF178-C265-4D57-91D9-43AB74F66B26}" type="presParOf" srcId="{762F1E0C-E6C9-49C2-96E1-3368567F5E9C}" destId="{86EB517E-8780-471C-8102-499D33B80674}" srcOrd="0" destOrd="0" presId="urn:microsoft.com/office/officeart/2005/8/layout/orgChart1"/>
    <dgm:cxn modelId="{F183706E-4B04-4165-8ACB-0B5ED70440C6}" type="presParOf" srcId="{762F1E0C-E6C9-49C2-96E1-3368567F5E9C}" destId="{7092525B-A1E0-4E47-8384-E42FD27CC141}" srcOrd="1" destOrd="0" presId="urn:microsoft.com/office/officeart/2005/8/layout/orgChart1"/>
    <dgm:cxn modelId="{D2DA72F0-8EAF-47D3-9130-A0D5382F7808}" type="presParOf" srcId="{7092525B-A1E0-4E47-8384-E42FD27CC141}" destId="{E6406CD0-727F-424A-A956-8910D9FF62D0}" srcOrd="0" destOrd="0" presId="urn:microsoft.com/office/officeart/2005/8/layout/orgChart1"/>
    <dgm:cxn modelId="{8AFC27EC-0EA8-4C58-A92A-F3772CC7C6A9}" type="presParOf" srcId="{E6406CD0-727F-424A-A956-8910D9FF62D0}" destId="{598822A9-D11F-468E-902B-653E43C8F350}" srcOrd="0" destOrd="0" presId="urn:microsoft.com/office/officeart/2005/8/layout/orgChart1"/>
    <dgm:cxn modelId="{1CFE57C9-2024-4741-A861-2AB9C037B47B}" type="presParOf" srcId="{E6406CD0-727F-424A-A956-8910D9FF62D0}" destId="{79E89AB2-E921-4A28-B05A-FD9DD9413433}" srcOrd="1" destOrd="0" presId="urn:microsoft.com/office/officeart/2005/8/layout/orgChart1"/>
    <dgm:cxn modelId="{859F8BE0-0516-494B-B381-FD7357E2FCAB}" type="presParOf" srcId="{7092525B-A1E0-4E47-8384-E42FD27CC141}" destId="{BAA2F27D-34D5-4D0C-92EA-B5D7EE2765B2}" srcOrd="1" destOrd="0" presId="urn:microsoft.com/office/officeart/2005/8/layout/orgChart1"/>
    <dgm:cxn modelId="{9D4435D8-B022-41C0-ACC9-09BAD0E9433F}" type="presParOf" srcId="{7092525B-A1E0-4E47-8384-E42FD27CC141}" destId="{79C2922B-1375-4D4F-B050-BC1243B3247A}" srcOrd="2" destOrd="0" presId="urn:microsoft.com/office/officeart/2005/8/layout/orgChart1"/>
    <dgm:cxn modelId="{D9C493CC-90C9-4BC0-86CB-CB2B253B359C}" type="presParOf" srcId="{762F1E0C-E6C9-49C2-96E1-3368567F5E9C}" destId="{3B2A522E-5891-4F6C-BB0A-E1D990A97860}" srcOrd="2" destOrd="0" presId="urn:microsoft.com/office/officeart/2005/8/layout/orgChart1"/>
    <dgm:cxn modelId="{0F1302F2-DAD9-438F-AD02-2ED27C59907C}" type="presParOf" srcId="{762F1E0C-E6C9-49C2-96E1-3368567F5E9C}" destId="{EACA780F-1725-4878-BFB9-765D2B72C431}" srcOrd="3" destOrd="0" presId="urn:microsoft.com/office/officeart/2005/8/layout/orgChart1"/>
    <dgm:cxn modelId="{BBF70A52-8837-4D26-A0F4-E8BB31B19FE3}" type="presParOf" srcId="{EACA780F-1725-4878-BFB9-765D2B72C431}" destId="{CDE72F1A-8929-4C3F-BBC9-B047AC2F753F}" srcOrd="0" destOrd="0" presId="urn:microsoft.com/office/officeart/2005/8/layout/orgChart1"/>
    <dgm:cxn modelId="{B8EA1703-76D3-4F92-AFF5-EABFB5B25326}" type="presParOf" srcId="{CDE72F1A-8929-4C3F-BBC9-B047AC2F753F}" destId="{CE224A0D-43AA-455F-9D2C-3C9C2764F1E9}" srcOrd="0" destOrd="0" presId="urn:microsoft.com/office/officeart/2005/8/layout/orgChart1"/>
    <dgm:cxn modelId="{5B15065A-2CAC-41F1-B1FC-97BE9F94B580}" type="presParOf" srcId="{CDE72F1A-8929-4C3F-BBC9-B047AC2F753F}" destId="{48D2DCF3-435B-475C-87D6-04CD8FBF9EC5}" srcOrd="1" destOrd="0" presId="urn:microsoft.com/office/officeart/2005/8/layout/orgChart1"/>
    <dgm:cxn modelId="{0BA47D35-59FA-429E-BDF7-61D4952C1D0E}" type="presParOf" srcId="{EACA780F-1725-4878-BFB9-765D2B72C431}" destId="{AAE7185E-524F-4B64-B1F5-9248FF080FA5}" srcOrd="1" destOrd="0" presId="urn:microsoft.com/office/officeart/2005/8/layout/orgChart1"/>
    <dgm:cxn modelId="{00D0ACF0-CDBE-4AA3-B46D-1C8D95DD2707}" type="presParOf" srcId="{EACA780F-1725-4878-BFB9-765D2B72C431}" destId="{293ABE9B-3FA0-450B-8255-BB2C47935E42}" srcOrd="2" destOrd="0" presId="urn:microsoft.com/office/officeart/2005/8/layout/orgChart1"/>
    <dgm:cxn modelId="{F2266859-F907-4B4F-A5FD-1BE6CCC46F03}" type="presParOf" srcId="{762F1E0C-E6C9-49C2-96E1-3368567F5E9C}" destId="{7AA3DD88-1C13-41B6-B7C8-797212C90F7F}" srcOrd="4" destOrd="0" presId="urn:microsoft.com/office/officeart/2005/8/layout/orgChart1"/>
    <dgm:cxn modelId="{7CDEAFE6-EA08-4DDB-8322-1B6E4BCA6550}" type="presParOf" srcId="{762F1E0C-E6C9-49C2-96E1-3368567F5E9C}" destId="{59AC0021-DF9C-4CF6-9B5F-7140D25B396E}" srcOrd="5" destOrd="0" presId="urn:microsoft.com/office/officeart/2005/8/layout/orgChart1"/>
    <dgm:cxn modelId="{833D5EFA-83DF-49D2-8ED0-BA86186ED2DE}" type="presParOf" srcId="{59AC0021-DF9C-4CF6-9B5F-7140D25B396E}" destId="{87DF2AF3-F200-4A91-9739-F50BC1D6E8D2}" srcOrd="0" destOrd="0" presId="urn:microsoft.com/office/officeart/2005/8/layout/orgChart1"/>
    <dgm:cxn modelId="{80CD4E1E-72D4-4E0B-B43B-8EE9B1232738}" type="presParOf" srcId="{87DF2AF3-F200-4A91-9739-F50BC1D6E8D2}" destId="{B2F3286D-6314-4C55-9A76-09789B63FCF7}" srcOrd="0" destOrd="0" presId="urn:microsoft.com/office/officeart/2005/8/layout/orgChart1"/>
    <dgm:cxn modelId="{4D6A979C-18F6-419C-83D2-2C48135D2780}" type="presParOf" srcId="{87DF2AF3-F200-4A91-9739-F50BC1D6E8D2}" destId="{4C66B3C9-7FDC-4B1E-B8AF-BDC7530C94F9}" srcOrd="1" destOrd="0" presId="urn:microsoft.com/office/officeart/2005/8/layout/orgChart1"/>
    <dgm:cxn modelId="{3C345309-39A1-49D9-9D99-478FBA4C9842}" type="presParOf" srcId="{59AC0021-DF9C-4CF6-9B5F-7140D25B396E}" destId="{32C3C0AD-3D01-4C3B-9516-CFF2144CD3CE}" srcOrd="1" destOrd="0" presId="urn:microsoft.com/office/officeart/2005/8/layout/orgChart1"/>
    <dgm:cxn modelId="{EECBE7A5-C46B-444A-9DF9-E947E4EA7B1B}" type="presParOf" srcId="{59AC0021-DF9C-4CF6-9B5F-7140D25B396E}" destId="{B8C64B9E-DDAC-4BED-A395-C9787218D222}" srcOrd="2" destOrd="0" presId="urn:microsoft.com/office/officeart/2005/8/layout/orgChart1"/>
    <dgm:cxn modelId="{6EAFE6B4-DF3C-498B-B341-6252A41F31E6}" type="presParOf" srcId="{762F1E0C-E6C9-49C2-96E1-3368567F5E9C}" destId="{4E58DDE5-54BC-4CD1-9E87-D9E79F76CDF5}" srcOrd="6" destOrd="0" presId="urn:microsoft.com/office/officeart/2005/8/layout/orgChart1"/>
    <dgm:cxn modelId="{5DD18876-5A95-4C93-B25E-87BA15B2ABEB}" type="presParOf" srcId="{762F1E0C-E6C9-49C2-96E1-3368567F5E9C}" destId="{8AC1D643-C806-4AE2-876A-6B5A045A68D4}" srcOrd="7" destOrd="0" presId="urn:microsoft.com/office/officeart/2005/8/layout/orgChart1"/>
    <dgm:cxn modelId="{A624D2A0-0314-47E2-87EB-919EE8D0E47B}" type="presParOf" srcId="{8AC1D643-C806-4AE2-876A-6B5A045A68D4}" destId="{086709CE-2AA3-4577-A109-FD0767306BE3}" srcOrd="0" destOrd="0" presId="urn:microsoft.com/office/officeart/2005/8/layout/orgChart1"/>
    <dgm:cxn modelId="{AB38D5D2-DC41-4657-83F7-BB6765E8B3B5}" type="presParOf" srcId="{086709CE-2AA3-4577-A109-FD0767306BE3}" destId="{B74760F0-5447-4F80-8917-F4BB9755915B}" srcOrd="0" destOrd="0" presId="urn:microsoft.com/office/officeart/2005/8/layout/orgChart1"/>
    <dgm:cxn modelId="{993DCE3B-56AB-4410-8C2B-64E46CD35A0B}" type="presParOf" srcId="{086709CE-2AA3-4577-A109-FD0767306BE3}" destId="{4F1E668C-C00C-4FE4-B512-56C433D3CB9E}" srcOrd="1" destOrd="0" presId="urn:microsoft.com/office/officeart/2005/8/layout/orgChart1"/>
    <dgm:cxn modelId="{89685B42-E6B6-4B29-A392-20B2EFE2C002}" type="presParOf" srcId="{8AC1D643-C806-4AE2-876A-6B5A045A68D4}" destId="{1EFE4CD9-0285-45FB-9A91-4A5C3BBF6431}" srcOrd="1" destOrd="0" presId="urn:microsoft.com/office/officeart/2005/8/layout/orgChart1"/>
    <dgm:cxn modelId="{E572C6BA-99F2-4CCE-AD42-672937935BEE}" type="presParOf" srcId="{8AC1D643-C806-4AE2-876A-6B5A045A68D4}" destId="{D0E1B0EC-5F7B-46F8-9CBB-8A652254BB59}" srcOrd="2" destOrd="0" presId="urn:microsoft.com/office/officeart/2005/8/layout/orgChart1"/>
    <dgm:cxn modelId="{3947C738-914F-4577-AC80-2E3639266CCF}" type="presParOf" srcId="{762F1E0C-E6C9-49C2-96E1-3368567F5E9C}" destId="{A6484312-1201-487E-B86F-C0163B4E5533}" srcOrd="8" destOrd="0" presId="urn:microsoft.com/office/officeart/2005/8/layout/orgChart1"/>
    <dgm:cxn modelId="{3E67A820-B3BF-44E0-B4CF-0C7A830A73DC}" type="presParOf" srcId="{762F1E0C-E6C9-49C2-96E1-3368567F5E9C}" destId="{D8F1815C-7867-4829-8067-117CAA09F261}" srcOrd="9" destOrd="0" presId="urn:microsoft.com/office/officeart/2005/8/layout/orgChart1"/>
    <dgm:cxn modelId="{0A0CD4A3-3A6E-451A-8BA0-9FB4D14CDC83}" type="presParOf" srcId="{D8F1815C-7867-4829-8067-117CAA09F261}" destId="{8EC3F3ED-FEE6-4093-9818-56F7B84FE041}" srcOrd="0" destOrd="0" presId="urn:microsoft.com/office/officeart/2005/8/layout/orgChart1"/>
    <dgm:cxn modelId="{44639317-7433-4188-AF18-B7D694B38EAE}" type="presParOf" srcId="{8EC3F3ED-FEE6-4093-9818-56F7B84FE041}" destId="{22C7789E-B272-4396-A366-A25D432E37B3}" srcOrd="0" destOrd="0" presId="urn:microsoft.com/office/officeart/2005/8/layout/orgChart1"/>
    <dgm:cxn modelId="{7A668FB5-2EDE-47E7-9E61-D0B89D77D21F}" type="presParOf" srcId="{8EC3F3ED-FEE6-4093-9818-56F7B84FE041}" destId="{A9A3C5A9-FE69-40F0-9426-F993BD8D7237}" srcOrd="1" destOrd="0" presId="urn:microsoft.com/office/officeart/2005/8/layout/orgChart1"/>
    <dgm:cxn modelId="{299361CB-9CF4-4544-AC77-6F5289BBA577}" type="presParOf" srcId="{D8F1815C-7867-4829-8067-117CAA09F261}" destId="{49232A68-2265-4C81-A05D-A412D3E01A95}" srcOrd="1" destOrd="0" presId="urn:microsoft.com/office/officeart/2005/8/layout/orgChart1"/>
    <dgm:cxn modelId="{5857884D-EFF0-4E72-8133-41AF6BE85553}" type="presParOf" srcId="{D8F1815C-7867-4829-8067-117CAA09F261}" destId="{F007BF52-0132-4E61-AE78-D1A29CA46E6B}" srcOrd="2" destOrd="0" presId="urn:microsoft.com/office/officeart/2005/8/layout/orgChart1"/>
    <dgm:cxn modelId="{D211C95A-1C87-492F-ADFA-E5F69E082FC9}" type="presParOf" srcId="{762F1E0C-E6C9-49C2-96E1-3368567F5E9C}" destId="{684DFB6B-DEBE-4C4E-9C15-634DC6FF72DC}" srcOrd="10" destOrd="0" presId="urn:microsoft.com/office/officeart/2005/8/layout/orgChart1"/>
    <dgm:cxn modelId="{8A37CD45-26D5-4DB0-BF46-66D63E72D3EE}" type="presParOf" srcId="{762F1E0C-E6C9-49C2-96E1-3368567F5E9C}" destId="{6C6E040F-058B-4D41-8271-BA5C6BFA47A9}" srcOrd="11" destOrd="0" presId="urn:microsoft.com/office/officeart/2005/8/layout/orgChart1"/>
    <dgm:cxn modelId="{BF6139CB-21A4-4204-BF57-01A33A488E04}" type="presParOf" srcId="{6C6E040F-058B-4D41-8271-BA5C6BFA47A9}" destId="{759A52B3-F208-41B0-9AA7-7EA46B036E37}" srcOrd="0" destOrd="0" presId="urn:microsoft.com/office/officeart/2005/8/layout/orgChart1"/>
    <dgm:cxn modelId="{DBBCBB34-1107-4DD1-A48A-12423B75164B}" type="presParOf" srcId="{759A52B3-F208-41B0-9AA7-7EA46B036E37}" destId="{FBCFADAA-2BD5-4483-9174-AACD66D45251}" srcOrd="0" destOrd="0" presId="urn:microsoft.com/office/officeart/2005/8/layout/orgChart1"/>
    <dgm:cxn modelId="{2FF94C84-66B4-4D29-AB82-D9F60928E646}" type="presParOf" srcId="{759A52B3-F208-41B0-9AA7-7EA46B036E37}" destId="{FA385A78-7FD4-4B85-B877-83B5CBB0AFC4}" srcOrd="1" destOrd="0" presId="urn:microsoft.com/office/officeart/2005/8/layout/orgChart1"/>
    <dgm:cxn modelId="{A2355C3A-2E83-475E-89EC-778F9CCCD548}" type="presParOf" srcId="{6C6E040F-058B-4D41-8271-BA5C6BFA47A9}" destId="{82D56480-4645-4DFF-BF27-6643A660445F}" srcOrd="1" destOrd="0" presId="urn:microsoft.com/office/officeart/2005/8/layout/orgChart1"/>
    <dgm:cxn modelId="{0D677FDF-F526-4003-8210-60F3A746EDE5}" type="presParOf" srcId="{6C6E040F-058B-4D41-8271-BA5C6BFA47A9}" destId="{7DF6314E-59A7-40C5-92F6-5E6F31EB6C73}" srcOrd="2" destOrd="0" presId="urn:microsoft.com/office/officeart/2005/8/layout/orgChart1"/>
    <dgm:cxn modelId="{2648E596-5FDD-43D1-A794-5EFFEB57F1DF}" type="presParOf" srcId="{81237E68-2254-43FC-87BC-1A4334CA33CE}" destId="{867BE2E5-215B-44BF-9DB2-87AB42A66253}" srcOrd="2" destOrd="0" presId="urn:microsoft.com/office/officeart/2005/8/layout/orgChart1"/>
    <dgm:cxn modelId="{FFE63419-6F2B-41D0-8104-DCB07D85D9B4}" type="presParOf" srcId="{7C736579-9C03-4AE0-BC86-D125DC12861F}" destId="{B24C8AA9-630E-4D93-A342-36690E306F0A}" srcOrd="2" destOrd="0" presId="urn:microsoft.com/office/officeart/2005/8/layout/orgChart1"/>
    <dgm:cxn modelId="{96CAE8FB-6358-4A7E-B5D9-17553289B546}" type="presParOf" srcId="{B24C8AA9-630E-4D93-A342-36690E306F0A}" destId="{46B384E3-8F9D-4901-93EC-34519CFF5CE3}" srcOrd="0" destOrd="0" presId="urn:microsoft.com/office/officeart/2005/8/layout/orgChart1"/>
    <dgm:cxn modelId="{E05AF164-E1BC-40B6-AD20-D141DE2CE8B6}" type="presParOf" srcId="{B24C8AA9-630E-4D93-A342-36690E306F0A}" destId="{6C38D05C-4675-4487-8221-B168B695F2C3}" srcOrd="1" destOrd="0" presId="urn:microsoft.com/office/officeart/2005/8/layout/orgChart1"/>
    <dgm:cxn modelId="{3B270C0F-6826-4100-A17A-03E2F787CA78}" type="presParOf" srcId="{6C38D05C-4675-4487-8221-B168B695F2C3}" destId="{D894060B-1EFD-4D66-9A22-B13F9C9CE234}" srcOrd="0" destOrd="0" presId="urn:microsoft.com/office/officeart/2005/8/layout/orgChart1"/>
    <dgm:cxn modelId="{4A524297-7FC8-4325-BE0D-FC8081707093}" type="presParOf" srcId="{D894060B-1EFD-4D66-9A22-B13F9C9CE234}" destId="{1C12DD44-043B-4530-9317-8D28108F765D}" srcOrd="0" destOrd="0" presId="urn:microsoft.com/office/officeart/2005/8/layout/orgChart1"/>
    <dgm:cxn modelId="{C9F3824D-A9E0-4DDB-89F4-0418983E6DDB}" type="presParOf" srcId="{D894060B-1EFD-4D66-9A22-B13F9C9CE234}" destId="{EFC0F94C-067B-454A-9912-6B3C8383AEFF}" srcOrd="1" destOrd="0" presId="urn:microsoft.com/office/officeart/2005/8/layout/orgChart1"/>
    <dgm:cxn modelId="{4F26DB74-E7FC-4430-A35D-6A590693C8DE}" type="presParOf" srcId="{6C38D05C-4675-4487-8221-B168B695F2C3}" destId="{C804D17F-DFA6-4F2F-B395-B143DD04DA74}" srcOrd="1" destOrd="0" presId="urn:microsoft.com/office/officeart/2005/8/layout/orgChart1"/>
    <dgm:cxn modelId="{DE9463D7-5581-46E7-8B05-A72458E550DB}" type="presParOf" srcId="{6C38D05C-4675-4487-8221-B168B695F2C3}" destId="{4F4B3A61-0F36-4640-8899-EBEE34202B4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B384E3-8F9D-4901-93EC-34519CFF5CE3}">
      <dsp:nvSpPr>
        <dsp:cNvPr id="0" name=""/>
        <dsp:cNvSpPr/>
      </dsp:nvSpPr>
      <dsp:spPr>
        <a:xfrm>
          <a:off x="5088652" y="417945"/>
          <a:ext cx="91440" cy="381099"/>
        </a:xfrm>
        <a:custGeom>
          <a:avLst/>
          <a:gdLst/>
          <a:ahLst/>
          <a:cxnLst/>
          <a:rect l="0" t="0" r="0" b="0"/>
          <a:pathLst>
            <a:path>
              <a:moveTo>
                <a:pt x="132710" y="0"/>
              </a:moveTo>
              <a:lnTo>
                <a:pt x="132710" y="381099"/>
              </a:lnTo>
              <a:lnTo>
                <a:pt x="45720" y="3810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4DFB6B-DEBE-4C4E-9C15-634DC6FF72DC}">
      <dsp:nvSpPr>
        <dsp:cNvPr id="0" name=""/>
        <dsp:cNvSpPr/>
      </dsp:nvSpPr>
      <dsp:spPr>
        <a:xfrm>
          <a:off x="6644272" y="1594382"/>
          <a:ext cx="124271" cy="33221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2194"/>
              </a:lnTo>
              <a:lnTo>
                <a:pt x="124271" y="332219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484312-1201-487E-B86F-C0163B4E5533}">
      <dsp:nvSpPr>
        <dsp:cNvPr id="0" name=""/>
        <dsp:cNvSpPr/>
      </dsp:nvSpPr>
      <dsp:spPr>
        <a:xfrm>
          <a:off x="6644272" y="1594382"/>
          <a:ext cx="124271" cy="27339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33975"/>
              </a:lnTo>
              <a:lnTo>
                <a:pt x="124271" y="273397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58DDE5-54BC-4CD1-9E87-D9E79F76CDF5}">
      <dsp:nvSpPr>
        <dsp:cNvPr id="0" name=""/>
        <dsp:cNvSpPr/>
      </dsp:nvSpPr>
      <dsp:spPr>
        <a:xfrm>
          <a:off x="6644272" y="1594382"/>
          <a:ext cx="124271" cy="21457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45756"/>
              </a:lnTo>
              <a:lnTo>
                <a:pt x="124271" y="214575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A3DD88-1C13-41B6-B7C8-797212C90F7F}">
      <dsp:nvSpPr>
        <dsp:cNvPr id="0" name=""/>
        <dsp:cNvSpPr/>
      </dsp:nvSpPr>
      <dsp:spPr>
        <a:xfrm>
          <a:off x="6644272" y="1594382"/>
          <a:ext cx="124271" cy="15575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7537"/>
              </a:lnTo>
              <a:lnTo>
                <a:pt x="124271" y="15575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2A522E-5891-4F6C-BB0A-E1D990A97860}">
      <dsp:nvSpPr>
        <dsp:cNvPr id="0" name=""/>
        <dsp:cNvSpPr/>
      </dsp:nvSpPr>
      <dsp:spPr>
        <a:xfrm>
          <a:off x="6644272" y="1594382"/>
          <a:ext cx="124271" cy="9693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69318"/>
              </a:lnTo>
              <a:lnTo>
                <a:pt x="124271" y="9693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EB517E-8780-471C-8102-499D33B80674}">
      <dsp:nvSpPr>
        <dsp:cNvPr id="0" name=""/>
        <dsp:cNvSpPr/>
      </dsp:nvSpPr>
      <dsp:spPr>
        <a:xfrm>
          <a:off x="6644272" y="1594382"/>
          <a:ext cx="124271" cy="3810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1099"/>
              </a:lnTo>
              <a:lnTo>
                <a:pt x="124271" y="38109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33A6CF-7EEC-421E-B96A-C07F48BA9812}">
      <dsp:nvSpPr>
        <dsp:cNvPr id="0" name=""/>
        <dsp:cNvSpPr/>
      </dsp:nvSpPr>
      <dsp:spPr>
        <a:xfrm>
          <a:off x="5221362" y="417945"/>
          <a:ext cx="1754300" cy="762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5209"/>
              </a:lnTo>
              <a:lnTo>
                <a:pt x="1754300" y="675209"/>
              </a:lnTo>
              <a:lnTo>
                <a:pt x="1754300" y="7621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E98410-234D-44E6-98BF-7874D840463A}">
      <dsp:nvSpPr>
        <dsp:cNvPr id="0" name=""/>
        <dsp:cNvSpPr/>
      </dsp:nvSpPr>
      <dsp:spPr>
        <a:xfrm>
          <a:off x="5641815" y="2182601"/>
          <a:ext cx="124271" cy="21155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5599"/>
              </a:lnTo>
              <a:lnTo>
                <a:pt x="124271" y="211559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797818-CEEC-4010-8640-642C09CE825D}">
      <dsp:nvSpPr>
        <dsp:cNvPr id="0" name=""/>
        <dsp:cNvSpPr/>
      </dsp:nvSpPr>
      <dsp:spPr>
        <a:xfrm>
          <a:off x="5641815" y="2182601"/>
          <a:ext cx="124271" cy="15575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7537"/>
              </a:lnTo>
              <a:lnTo>
                <a:pt x="124271" y="15575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564183-0CC7-4C92-BE75-FB1FDE2DB88B}">
      <dsp:nvSpPr>
        <dsp:cNvPr id="0" name=""/>
        <dsp:cNvSpPr/>
      </dsp:nvSpPr>
      <dsp:spPr>
        <a:xfrm>
          <a:off x="5641815" y="2182601"/>
          <a:ext cx="124271" cy="9693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69318"/>
              </a:lnTo>
              <a:lnTo>
                <a:pt x="124271" y="9693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FD23C5-1602-4A2F-AD09-F68FE1E1AEEE}">
      <dsp:nvSpPr>
        <dsp:cNvPr id="0" name=""/>
        <dsp:cNvSpPr/>
      </dsp:nvSpPr>
      <dsp:spPr>
        <a:xfrm>
          <a:off x="5641815" y="2182601"/>
          <a:ext cx="124271" cy="3810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1099"/>
              </a:lnTo>
              <a:lnTo>
                <a:pt x="124271" y="38109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A5241B-B7BC-41D5-A4B6-BA92111D315F}">
      <dsp:nvSpPr>
        <dsp:cNvPr id="0" name=""/>
        <dsp:cNvSpPr/>
      </dsp:nvSpPr>
      <dsp:spPr>
        <a:xfrm>
          <a:off x="5471977" y="1594382"/>
          <a:ext cx="501228" cy="1739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6990"/>
              </a:lnTo>
              <a:lnTo>
                <a:pt x="501228" y="86990"/>
              </a:lnTo>
              <a:lnTo>
                <a:pt x="501228" y="1739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2A7D91-AEA7-4DBA-86ED-7C04CF0853E4}">
      <dsp:nvSpPr>
        <dsp:cNvPr id="0" name=""/>
        <dsp:cNvSpPr/>
      </dsp:nvSpPr>
      <dsp:spPr>
        <a:xfrm>
          <a:off x="4639357" y="2182601"/>
          <a:ext cx="124271" cy="21155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5599"/>
              </a:lnTo>
              <a:lnTo>
                <a:pt x="124271" y="211559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D9515-FD68-488F-BAB0-2D65B595BA72}">
      <dsp:nvSpPr>
        <dsp:cNvPr id="0" name=""/>
        <dsp:cNvSpPr/>
      </dsp:nvSpPr>
      <dsp:spPr>
        <a:xfrm>
          <a:off x="4639357" y="2182601"/>
          <a:ext cx="124271" cy="15273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7380"/>
              </a:lnTo>
              <a:lnTo>
                <a:pt x="124271" y="15273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1EE699-AAC5-4334-987D-753B1F4AC9A0}">
      <dsp:nvSpPr>
        <dsp:cNvPr id="0" name=""/>
        <dsp:cNvSpPr/>
      </dsp:nvSpPr>
      <dsp:spPr>
        <a:xfrm>
          <a:off x="4639357" y="2182601"/>
          <a:ext cx="124271" cy="939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9161"/>
              </a:lnTo>
              <a:lnTo>
                <a:pt x="124271" y="93916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9BE90-8A13-4704-9367-E91AC7A75F0B}">
      <dsp:nvSpPr>
        <dsp:cNvPr id="0" name=""/>
        <dsp:cNvSpPr/>
      </dsp:nvSpPr>
      <dsp:spPr>
        <a:xfrm>
          <a:off x="4639357" y="2182601"/>
          <a:ext cx="124271" cy="3509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0943"/>
              </a:lnTo>
              <a:lnTo>
                <a:pt x="124271" y="35094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34F2DE-F338-4A4E-8CF6-77E2FD3A717B}">
      <dsp:nvSpPr>
        <dsp:cNvPr id="0" name=""/>
        <dsp:cNvSpPr/>
      </dsp:nvSpPr>
      <dsp:spPr>
        <a:xfrm>
          <a:off x="4970748" y="1594382"/>
          <a:ext cx="501228" cy="173980"/>
        </a:xfrm>
        <a:custGeom>
          <a:avLst/>
          <a:gdLst/>
          <a:ahLst/>
          <a:cxnLst/>
          <a:rect l="0" t="0" r="0" b="0"/>
          <a:pathLst>
            <a:path>
              <a:moveTo>
                <a:pt x="501228" y="0"/>
              </a:moveTo>
              <a:lnTo>
                <a:pt x="501228" y="86990"/>
              </a:lnTo>
              <a:lnTo>
                <a:pt x="0" y="86990"/>
              </a:lnTo>
              <a:lnTo>
                <a:pt x="0" y="1739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B8BE0C-B6B2-41D8-9DFA-F1DA7BCA117F}">
      <dsp:nvSpPr>
        <dsp:cNvPr id="0" name=""/>
        <dsp:cNvSpPr/>
      </dsp:nvSpPr>
      <dsp:spPr>
        <a:xfrm>
          <a:off x="5221362" y="417945"/>
          <a:ext cx="250614" cy="762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5209"/>
              </a:lnTo>
              <a:lnTo>
                <a:pt x="250614" y="675209"/>
              </a:lnTo>
              <a:lnTo>
                <a:pt x="250614" y="7621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3F01E3-5822-44E4-B417-6C97B4660682}">
      <dsp:nvSpPr>
        <dsp:cNvPr id="0" name=""/>
        <dsp:cNvSpPr/>
      </dsp:nvSpPr>
      <dsp:spPr>
        <a:xfrm>
          <a:off x="3636899" y="2182601"/>
          <a:ext cx="124271" cy="27038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3818"/>
              </a:lnTo>
              <a:lnTo>
                <a:pt x="124271" y="27038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DE7EBE-F873-46CB-8955-E6DECCD06FFF}">
      <dsp:nvSpPr>
        <dsp:cNvPr id="0" name=""/>
        <dsp:cNvSpPr/>
      </dsp:nvSpPr>
      <dsp:spPr>
        <a:xfrm>
          <a:off x="3636899" y="2182601"/>
          <a:ext cx="124271" cy="21155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5599"/>
              </a:lnTo>
              <a:lnTo>
                <a:pt x="124271" y="211559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8689F4-38BD-49C3-BF24-078BB270AE7F}">
      <dsp:nvSpPr>
        <dsp:cNvPr id="0" name=""/>
        <dsp:cNvSpPr/>
      </dsp:nvSpPr>
      <dsp:spPr>
        <a:xfrm>
          <a:off x="3636899" y="2182601"/>
          <a:ext cx="124271" cy="15273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7380"/>
              </a:lnTo>
              <a:lnTo>
                <a:pt x="124271" y="15273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A8F6A6-2D0C-4B80-A155-F7CAE6A84806}">
      <dsp:nvSpPr>
        <dsp:cNvPr id="0" name=""/>
        <dsp:cNvSpPr/>
      </dsp:nvSpPr>
      <dsp:spPr>
        <a:xfrm>
          <a:off x="3636899" y="2182601"/>
          <a:ext cx="124271" cy="939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9161"/>
              </a:lnTo>
              <a:lnTo>
                <a:pt x="124271" y="93916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EE17B1-5269-4D91-8EAE-84C00C476E4F}">
      <dsp:nvSpPr>
        <dsp:cNvPr id="0" name=""/>
        <dsp:cNvSpPr/>
      </dsp:nvSpPr>
      <dsp:spPr>
        <a:xfrm>
          <a:off x="3636899" y="2182601"/>
          <a:ext cx="124271" cy="3509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0943"/>
              </a:lnTo>
              <a:lnTo>
                <a:pt x="124271" y="35094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CE8910-CA11-4D95-8921-8FAA0892D302}">
      <dsp:nvSpPr>
        <dsp:cNvPr id="0" name=""/>
        <dsp:cNvSpPr/>
      </dsp:nvSpPr>
      <dsp:spPr>
        <a:xfrm>
          <a:off x="3467061" y="1594382"/>
          <a:ext cx="501228" cy="1739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6990"/>
              </a:lnTo>
              <a:lnTo>
                <a:pt x="501228" y="86990"/>
              </a:lnTo>
              <a:lnTo>
                <a:pt x="501228" y="1739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5270CA-7EFA-4078-9809-BAA2674AF486}">
      <dsp:nvSpPr>
        <dsp:cNvPr id="0" name=""/>
        <dsp:cNvSpPr/>
      </dsp:nvSpPr>
      <dsp:spPr>
        <a:xfrm>
          <a:off x="2634442" y="2182601"/>
          <a:ext cx="124271" cy="33221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2194"/>
              </a:lnTo>
              <a:lnTo>
                <a:pt x="124271" y="332219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BDE9EB-5821-4336-A084-BD7690A27F60}">
      <dsp:nvSpPr>
        <dsp:cNvPr id="0" name=""/>
        <dsp:cNvSpPr/>
      </dsp:nvSpPr>
      <dsp:spPr>
        <a:xfrm>
          <a:off x="2634442" y="2182601"/>
          <a:ext cx="124271" cy="27038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3818"/>
              </a:lnTo>
              <a:lnTo>
                <a:pt x="124271" y="27038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C7132E-9C97-4821-9AB9-A1B5D43163E9}">
      <dsp:nvSpPr>
        <dsp:cNvPr id="0" name=""/>
        <dsp:cNvSpPr/>
      </dsp:nvSpPr>
      <dsp:spPr>
        <a:xfrm>
          <a:off x="2634442" y="2182601"/>
          <a:ext cx="124271" cy="21155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5599"/>
              </a:lnTo>
              <a:lnTo>
                <a:pt x="124271" y="211559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796B0-4E24-4037-A756-23DAC096EEDD}">
      <dsp:nvSpPr>
        <dsp:cNvPr id="0" name=""/>
        <dsp:cNvSpPr/>
      </dsp:nvSpPr>
      <dsp:spPr>
        <a:xfrm>
          <a:off x="2634442" y="2182601"/>
          <a:ext cx="124271" cy="15273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7380"/>
              </a:lnTo>
              <a:lnTo>
                <a:pt x="124271" y="15273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F66D99-B4F5-48C7-93B8-AB3D74072266}">
      <dsp:nvSpPr>
        <dsp:cNvPr id="0" name=""/>
        <dsp:cNvSpPr/>
      </dsp:nvSpPr>
      <dsp:spPr>
        <a:xfrm>
          <a:off x="2634442" y="2182601"/>
          <a:ext cx="124271" cy="939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9161"/>
              </a:lnTo>
              <a:lnTo>
                <a:pt x="124271" y="93916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27B44E-4915-466B-B832-3FF70F523FEB}">
      <dsp:nvSpPr>
        <dsp:cNvPr id="0" name=""/>
        <dsp:cNvSpPr/>
      </dsp:nvSpPr>
      <dsp:spPr>
        <a:xfrm>
          <a:off x="2634442" y="2182601"/>
          <a:ext cx="124271" cy="3509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0943"/>
              </a:lnTo>
              <a:lnTo>
                <a:pt x="124271" y="35094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911C8F-417C-49C0-AAE0-9CE821F23A53}">
      <dsp:nvSpPr>
        <dsp:cNvPr id="0" name=""/>
        <dsp:cNvSpPr/>
      </dsp:nvSpPr>
      <dsp:spPr>
        <a:xfrm>
          <a:off x="2965832" y="1594382"/>
          <a:ext cx="501228" cy="173980"/>
        </a:xfrm>
        <a:custGeom>
          <a:avLst/>
          <a:gdLst/>
          <a:ahLst/>
          <a:cxnLst/>
          <a:rect l="0" t="0" r="0" b="0"/>
          <a:pathLst>
            <a:path>
              <a:moveTo>
                <a:pt x="501228" y="0"/>
              </a:moveTo>
              <a:lnTo>
                <a:pt x="501228" y="86990"/>
              </a:lnTo>
              <a:lnTo>
                <a:pt x="0" y="86990"/>
              </a:lnTo>
              <a:lnTo>
                <a:pt x="0" y="1739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17481A-8433-4D8A-9D92-8280515D5E7A}">
      <dsp:nvSpPr>
        <dsp:cNvPr id="0" name=""/>
        <dsp:cNvSpPr/>
      </dsp:nvSpPr>
      <dsp:spPr>
        <a:xfrm>
          <a:off x="3467061" y="417945"/>
          <a:ext cx="1754300" cy="762199"/>
        </a:xfrm>
        <a:custGeom>
          <a:avLst/>
          <a:gdLst/>
          <a:ahLst/>
          <a:cxnLst/>
          <a:rect l="0" t="0" r="0" b="0"/>
          <a:pathLst>
            <a:path>
              <a:moveTo>
                <a:pt x="1754300" y="0"/>
              </a:moveTo>
              <a:lnTo>
                <a:pt x="1754300" y="675209"/>
              </a:lnTo>
              <a:lnTo>
                <a:pt x="0" y="675209"/>
              </a:lnTo>
              <a:lnTo>
                <a:pt x="0" y="7621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48CB5D-1BF0-40F4-B0E2-608095375244}">
      <dsp:nvSpPr>
        <dsp:cNvPr id="0" name=""/>
        <dsp:cNvSpPr/>
      </dsp:nvSpPr>
      <dsp:spPr>
        <a:xfrm>
          <a:off x="4807124" y="3706"/>
          <a:ext cx="828477" cy="414238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0" kern="1200" dirty="0">
              <a:solidFill>
                <a:schemeClr val="bg1"/>
              </a:solidFill>
            </a:rPr>
            <a:t>Super</a:t>
          </a:r>
        </a:p>
      </dsp:txBody>
      <dsp:txXfrm>
        <a:off x="4807124" y="3706"/>
        <a:ext cx="828477" cy="414238"/>
      </dsp:txXfrm>
    </dsp:sp>
    <dsp:sp modelId="{57776C70-4867-4A75-BB91-ECE4EAD53C8E}">
      <dsp:nvSpPr>
        <dsp:cNvPr id="0" name=""/>
        <dsp:cNvSpPr/>
      </dsp:nvSpPr>
      <dsp:spPr>
        <a:xfrm>
          <a:off x="3052823" y="1180144"/>
          <a:ext cx="828477" cy="414238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3052823" y="1180144"/>
        <a:ext cx="828477" cy="414238"/>
      </dsp:txXfrm>
    </dsp:sp>
    <dsp:sp modelId="{1F4D08F4-B6A1-4643-8643-00E57F1133EA}">
      <dsp:nvSpPr>
        <dsp:cNvPr id="0" name=""/>
        <dsp:cNvSpPr/>
      </dsp:nvSpPr>
      <dsp:spPr>
        <a:xfrm>
          <a:off x="2551594" y="1768363"/>
          <a:ext cx="828477" cy="4142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2551594" y="1768363"/>
        <a:ext cx="828477" cy="414238"/>
      </dsp:txXfrm>
    </dsp:sp>
    <dsp:sp modelId="{C79CBE1C-5BCD-423C-9518-DB48B8FD8151}">
      <dsp:nvSpPr>
        <dsp:cNvPr id="0" name=""/>
        <dsp:cNvSpPr/>
      </dsp:nvSpPr>
      <dsp:spPr>
        <a:xfrm>
          <a:off x="2758713" y="2326425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2758713" y="2326425"/>
        <a:ext cx="828477" cy="414238"/>
      </dsp:txXfrm>
    </dsp:sp>
    <dsp:sp modelId="{8EEA6470-AFE7-4291-ACFD-8B7320266F1F}">
      <dsp:nvSpPr>
        <dsp:cNvPr id="0" name=""/>
        <dsp:cNvSpPr/>
      </dsp:nvSpPr>
      <dsp:spPr>
        <a:xfrm>
          <a:off x="2758713" y="2914644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2758713" y="2914644"/>
        <a:ext cx="828477" cy="414238"/>
      </dsp:txXfrm>
    </dsp:sp>
    <dsp:sp modelId="{BDED5FC7-7ECA-4F93-98CF-FB3DDFEDBC40}">
      <dsp:nvSpPr>
        <dsp:cNvPr id="0" name=""/>
        <dsp:cNvSpPr/>
      </dsp:nvSpPr>
      <dsp:spPr>
        <a:xfrm>
          <a:off x="2758713" y="3502863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2758713" y="3502863"/>
        <a:ext cx="828477" cy="414238"/>
      </dsp:txXfrm>
    </dsp:sp>
    <dsp:sp modelId="{D0C06A9D-9519-414B-BFF8-974E13F78F47}">
      <dsp:nvSpPr>
        <dsp:cNvPr id="0" name=""/>
        <dsp:cNvSpPr/>
      </dsp:nvSpPr>
      <dsp:spPr>
        <a:xfrm>
          <a:off x="2758713" y="4091082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2758713" y="4091082"/>
        <a:ext cx="828477" cy="414238"/>
      </dsp:txXfrm>
    </dsp:sp>
    <dsp:sp modelId="{90ACCBF6-8CCD-45FE-A2D6-178440392A5C}">
      <dsp:nvSpPr>
        <dsp:cNvPr id="0" name=""/>
        <dsp:cNvSpPr/>
      </dsp:nvSpPr>
      <dsp:spPr>
        <a:xfrm>
          <a:off x="2758713" y="4679301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2758713" y="4679301"/>
        <a:ext cx="828477" cy="414238"/>
      </dsp:txXfrm>
    </dsp:sp>
    <dsp:sp modelId="{6DDF7D82-D646-4609-A094-3328A062DF6E}">
      <dsp:nvSpPr>
        <dsp:cNvPr id="0" name=""/>
        <dsp:cNvSpPr/>
      </dsp:nvSpPr>
      <dsp:spPr>
        <a:xfrm>
          <a:off x="2758713" y="5297676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2758713" y="5297676"/>
        <a:ext cx="828477" cy="414238"/>
      </dsp:txXfrm>
    </dsp:sp>
    <dsp:sp modelId="{CE56B94C-735A-48F5-B1DC-31EAB6128EEC}">
      <dsp:nvSpPr>
        <dsp:cNvPr id="0" name=""/>
        <dsp:cNvSpPr/>
      </dsp:nvSpPr>
      <dsp:spPr>
        <a:xfrm>
          <a:off x="3554051" y="1768363"/>
          <a:ext cx="828477" cy="4142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Operations Lead</a:t>
          </a:r>
          <a:endParaRPr lang="en-US" sz="1000" kern="1200" dirty="0"/>
        </a:p>
      </dsp:txBody>
      <dsp:txXfrm>
        <a:off x="3554051" y="1768363"/>
        <a:ext cx="828477" cy="414238"/>
      </dsp:txXfrm>
    </dsp:sp>
    <dsp:sp modelId="{F5F7E505-2D9D-4770-97E1-42609DA4ACF5}">
      <dsp:nvSpPr>
        <dsp:cNvPr id="0" name=""/>
        <dsp:cNvSpPr/>
      </dsp:nvSpPr>
      <dsp:spPr>
        <a:xfrm>
          <a:off x="3761171" y="2326425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3761171" y="2326425"/>
        <a:ext cx="828477" cy="414238"/>
      </dsp:txXfrm>
    </dsp:sp>
    <dsp:sp modelId="{FA762EA6-3940-4136-A615-06324795D68F}">
      <dsp:nvSpPr>
        <dsp:cNvPr id="0" name=""/>
        <dsp:cNvSpPr/>
      </dsp:nvSpPr>
      <dsp:spPr>
        <a:xfrm>
          <a:off x="3761171" y="2914644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3761171" y="2914644"/>
        <a:ext cx="828477" cy="414238"/>
      </dsp:txXfrm>
    </dsp:sp>
    <dsp:sp modelId="{E48CBA97-491F-4650-AB97-AC64AF0CDB42}">
      <dsp:nvSpPr>
        <dsp:cNvPr id="0" name=""/>
        <dsp:cNvSpPr/>
      </dsp:nvSpPr>
      <dsp:spPr>
        <a:xfrm>
          <a:off x="3761171" y="3502863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3761171" y="3502863"/>
        <a:ext cx="828477" cy="414238"/>
      </dsp:txXfrm>
    </dsp:sp>
    <dsp:sp modelId="{9307D0D8-28C6-42CE-B987-279A22C8F181}">
      <dsp:nvSpPr>
        <dsp:cNvPr id="0" name=""/>
        <dsp:cNvSpPr/>
      </dsp:nvSpPr>
      <dsp:spPr>
        <a:xfrm>
          <a:off x="3761171" y="4091082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3761171" y="4091082"/>
        <a:ext cx="828477" cy="414238"/>
      </dsp:txXfrm>
    </dsp:sp>
    <dsp:sp modelId="{8BD35391-95B9-4320-8202-838D0E00D891}">
      <dsp:nvSpPr>
        <dsp:cNvPr id="0" name=""/>
        <dsp:cNvSpPr/>
      </dsp:nvSpPr>
      <dsp:spPr>
        <a:xfrm>
          <a:off x="3761171" y="4679301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3761171" y="4679301"/>
        <a:ext cx="828477" cy="414238"/>
      </dsp:txXfrm>
    </dsp:sp>
    <dsp:sp modelId="{E180F611-3F02-473E-B8B3-2F7FCC74AF64}">
      <dsp:nvSpPr>
        <dsp:cNvPr id="0" name=""/>
        <dsp:cNvSpPr/>
      </dsp:nvSpPr>
      <dsp:spPr>
        <a:xfrm>
          <a:off x="5057738" y="1180144"/>
          <a:ext cx="828477" cy="414238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oreman</a:t>
          </a:r>
        </a:p>
      </dsp:txBody>
      <dsp:txXfrm>
        <a:off x="5057738" y="1180144"/>
        <a:ext cx="828477" cy="414238"/>
      </dsp:txXfrm>
    </dsp:sp>
    <dsp:sp modelId="{72BE5304-752C-4167-B03F-5A6E23A69990}">
      <dsp:nvSpPr>
        <dsp:cNvPr id="0" name=""/>
        <dsp:cNvSpPr/>
      </dsp:nvSpPr>
      <dsp:spPr>
        <a:xfrm>
          <a:off x="4556509" y="1768363"/>
          <a:ext cx="828477" cy="4142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4556509" y="1768363"/>
        <a:ext cx="828477" cy="414238"/>
      </dsp:txXfrm>
    </dsp:sp>
    <dsp:sp modelId="{EF7362E5-E6E8-41B8-BEAF-EEAD6195ADB6}">
      <dsp:nvSpPr>
        <dsp:cNvPr id="0" name=""/>
        <dsp:cNvSpPr/>
      </dsp:nvSpPr>
      <dsp:spPr>
        <a:xfrm>
          <a:off x="4763628" y="2326425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4763628" y="2326425"/>
        <a:ext cx="828477" cy="414238"/>
      </dsp:txXfrm>
    </dsp:sp>
    <dsp:sp modelId="{71B521A9-878F-41A1-8364-290A0A9B4615}">
      <dsp:nvSpPr>
        <dsp:cNvPr id="0" name=""/>
        <dsp:cNvSpPr/>
      </dsp:nvSpPr>
      <dsp:spPr>
        <a:xfrm>
          <a:off x="4763628" y="2914644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4763628" y="2914644"/>
        <a:ext cx="828477" cy="414238"/>
      </dsp:txXfrm>
    </dsp:sp>
    <dsp:sp modelId="{FB709349-E6D3-41D4-81B7-0F67304A6EFE}">
      <dsp:nvSpPr>
        <dsp:cNvPr id="0" name=""/>
        <dsp:cNvSpPr/>
      </dsp:nvSpPr>
      <dsp:spPr>
        <a:xfrm>
          <a:off x="4763628" y="3502863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4763628" y="3502863"/>
        <a:ext cx="828477" cy="414238"/>
      </dsp:txXfrm>
    </dsp:sp>
    <dsp:sp modelId="{A588C842-F20A-4AA8-85DA-6ACC4DA2A93E}">
      <dsp:nvSpPr>
        <dsp:cNvPr id="0" name=""/>
        <dsp:cNvSpPr/>
      </dsp:nvSpPr>
      <dsp:spPr>
        <a:xfrm>
          <a:off x="4763628" y="4091082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4763628" y="4091082"/>
        <a:ext cx="828477" cy="414238"/>
      </dsp:txXfrm>
    </dsp:sp>
    <dsp:sp modelId="{AFC578FC-B6A9-4C9D-AE35-14F58D2A2F77}">
      <dsp:nvSpPr>
        <dsp:cNvPr id="0" name=""/>
        <dsp:cNvSpPr/>
      </dsp:nvSpPr>
      <dsp:spPr>
        <a:xfrm>
          <a:off x="5558967" y="1768363"/>
          <a:ext cx="828477" cy="4142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erations Lead</a:t>
          </a:r>
        </a:p>
      </dsp:txBody>
      <dsp:txXfrm>
        <a:off x="5558967" y="1768363"/>
        <a:ext cx="828477" cy="414238"/>
      </dsp:txXfrm>
    </dsp:sp>
    <dsp:sp modelId="{10893535-E133-4731-B500-FBF09351815B}">
      <dsp:nvSpPr>
        <dsp:cNvPr id="0" name=""/>
        <dsp:cNvSpPr/>
      </dsp:nvSpPr>
      <dsp:spPr>
        <a:xfrm>
          <a:off x="5766086" y="2356582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5766086" y="2356582"/>
        <a:ext cx="828477" cy="414238"/>
      </dsp:txXfrm>
    </dsp:sp>
    <dsp:sp modelId="{CD140378-386D-4430-9B29-B12CE2D6642D}">
      <dsp:nvSpPr>
        <dsp:cNvPr id="0" name=""/>
        <dsp:cNvSpPr/>
      </dsp:nvSpPr>
      <dsp:spPr>
        <a:xfrm>
          <a:off x="5766086" y="2944801"/>
          <a:ext cx="828477" cy="414238"/>
        </a:xfrm>
        <a:prstGeom prst="rect">
          <a:avLst/>
        </a:prstGeom>
        <a:solidFill>
          <a:srgbClr val="00B0F0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. Lease Operator</a:t>
          </a:r>
        </a:p>
      </dsp:txBody>
      <dsp:txXfrm>
        <a:off x="5766086" y="2944801"/>
        <a:ext cx="828477" cy="414238"/>
      </dsp:txXfrm>
    </dsp:sp>
    <dsp:sp modelId="{4E3B5942-48DC-4E61-A9E8-CBF6E9B1B977}">
      <dsp:nvSpPr>
        <dsp:cNvPr id="0" name=""/>
        <dsp:cNvSpPr/>
      </dsp:nvSpPr>
      <dsp:spPr>
        <a:xfrm>
          <a:off x="5766086" y="3533020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5766086" y="3533020"/>
        <a:ext cx="828477" cy="414238"/>
      </dsp:txXfrm>
    </dsp:sp>
    <dsp:sp modelId="{1C01B158-6877-41F6-B07E-1C9B8910083F}">
      <dsp:nvSpPr>
        <dsp:cNvPr id="0" name=""/>
        <dsp:cNvSpPr/>
      </dsp:nvSpPr>
      <dsp:spPr>
        <a:xfrm>
          <a:off x="5766086" y="4091082"/>
          <a:ext cx="828477" cy="414238"/>
        </a:xfrm>
        <a:prstGeom prst="rect">
          <a:avLst/>
        </a:prstGeom>
        <a:solidFill>
          <a:schemeClr val="accent1">
            <a:lumMod val="10000"/>
            <a:lumOff val="9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Lease Operator</a:t>
          </a:r>
        </a:p>
      </dsp:txBody>
      <dsp:txXfrm>
        <a:off x="5766086" y="4091082"/>
        <a:ext cx="828477" cy="414238"/>
      </dsp:txXfrm>
    </dsp:sp>
    <dsp:sp modelId="{6C266D4A-78B1-4036-AB88-E9116B80F397}">
      <dsp:nvSpPr>
        <dsp:cNvPr id="0" name=""/>
        <dsp:cNvSpPr/>
      </dsp:nvSpPr>
      <dsp:spPr>
        <a:xfrm>
          <a:off x="6561424" y="1180144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Ops Center Manager</a:t>
          </a:r>
        </a:p>
      </dsp:txBody>
      <dsp:txXfrm>
        <a:off x="6561424" y="1180144"/>
        <a:ext cx="828477" cy="414238"/>
      </dsp:txXfrm>
    </dsp:sp>
    <dsp:sp modelId="{598822A9-D11F-468E-902B-653E43C8F350}">
      <dsp:nvSpPr>
        <dsp:cNvPr id="0" name=""/>
        <dsp:cNvSpPr/>
      </dsp:nvSpPr>
      <dsp:spPr>
        <a:xfrm>
          <a:off x="6768544" y="1768363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Operations Analyst</a:t>
          </a:r>
        </a:p>
      </dsp:txBody>
      <dsp:txXfrm>
        <a:off x="6768544" y="1768363"/>
        <a:ext cx="828477" cy="414238"/>
      </dsp:txXfrm>
    </dsp:sp>
    <dsp:sp modelId="{CE224A0D-43AA-455F-9D2C-3C9C2764F1E9}">
      <dsp:nvSpPr>
        <dsp:cNvPr id="0" name=""/>
        <dsp:cNvSpPr/>
      </dsp:nvSpPr>
      <dsp:spPr>
        <a:xfrm>
          <a:off x="6768544" y="2356582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Rig Specialist</a:t>
          </a:r>
        </a:p>
      </dsp:txBody>
      <dsp:txXfrm>
        <a:off x="6768544" y="2356582"/>
        <a:ext cx="828477" cy="414238"/>
      </dsp:txXfrm>
    </dsp:sp>
    <dsp:sp modelId="{B2F3286D-6314-4C55-9A76-09789B63FCF7}">
      <dsp:nvSpPr>
        <dsp:cNvPr id="0" name=""/>
        <dsp:cNvSpPr/>
      </dsp:nvSpPr>
      <dsp:spPr>
        <a:xfrm>
          <a:off x="6768544" y="2944801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Chemical Specialist</a:t>
          </a:r>
        </a:p>
      </dsp:txBody>
      <dsp:txXfrm>
        <a:off x="6768544" y="2944801"/>
        <a:ext cx="828477" cy="414238"/>
      </dsp:txXfrm>
    </dsp:sp>
    <dsp:sp modelId="{B74760F0-5447-4F80-8917-F4BB9755915B}">
      <dsp:nvSpPr>
        <dsp:cNvPr id="0" name=""/>
        <dsp:cNvSpPr/>
      </dsp:nvSpPr>
      <dsp:spPr>
        <a:xfrm>
          <a:off x="6768544" y="3533020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Ops Center Analyst</a:t>
          </a:r>
        </a:p>
      </dsp:txBody>
      <dsp:txXfrm>
        <a:off x="6768544" y="3533020"/>
        <a:ext cx="828477" cy="414238"/>
      </dsp:txXfrm>
    </dsp:sp>
    <dsp:sp modelId="{22C7789E-B272-4396-A366-A25D432E37B3}">
      <dsp:nvSpPr>
        <dsp:cNvPr id="0" name=""/>
        <dsp:cNvSpPr/>
      </dsp:nvSpPr>
      <dsp:spPr>
        <a:xfrm>
          <a:off x="6768544" y="4121239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Ops Center Analyst</a:t>
          </a:r>
        </a:p>
      </dsp:txBody>
      <dsp:txXfrm>
        <a:off x="6768544" y="4121239"/>
        <a:ext cx="828477" cy="414238"/>
      </dsp:txXfrm>
    </dsp:sp>
    <dsp:sp modelId="{FBCFADAA-2BD5-4483-9174-AACD66D45251}">
      <dsp:nvSpPr>
        <dsp:cNvPr id="0" name=""/>
        <dsp:cNvSpPr/>
      </dsp:nvSpPr>
      <dsp:spPr>
        <a:xfrm>
          <a:off x="6768544" y="4709458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chemeClr val="tx1"/>
              </a:solidFill>
            </a:rPr>
            <a:t>Ops Center Analyst</a:t>
          </a:r>
        </a:p>
      </dsp:txBody>
      <dsp:txXfrm>
        <a:off x="6768544" y="4709458"/>
        <a:ext cx="828477" cy="414238"/>
      </dsp:txXfrm>
    </dsp:sp>
    <dsp:sp modelId="{1C12DD44-043B-4530-9317-8D28108F765D}">
      <dsp:nvSpPr>
        <dsp:cNvPr id="0" name=""/>
        <dsp:cNvSpPr/>
      </dsp:nvSpPr>
      <dsp:spPr>
        <a:xfrm>
          <a:off x="4305895" y="591925"/>
          <a:ext cx="828477" cy="41423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0" kern="1200" dirty="0">
              <a:solidFill>
                <a:schemeClr val="tx1"/>
              </a:solidFill>
            </a:rPr>
            <a:t>Admin</a:t>
          </a:r>
        </a:p>
      </dsp:txBody>
      <dsp:txXfrm>
        <a:off x="4305895" y="591925"/>
        <a:ext cx="828477" cy="4142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ABC5249-2C5B-456A-93B4-3EDAE9596B4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CDE716-3EB3-48C2-BA36-F953D03591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50EAB6B-3424-4E28-BE87-5928552CEE6B}" type="datetimeFigureOut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12CEBD-7F54-49E0-AE08-3C8DEFAD55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BFE791-C636-4825-9FAF-60E2743109F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808FA80-7387-497F-8178-AB892FFD78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8297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A1AAD4B-81F8-4664-918F-93081628162D}" type="datetimeFigureOut">
              <a:rPr lang="en-US" smtClean="0"/>
              <a:t>9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66C9C0A-FD93-40DB-9FE5-55FCE877C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5804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map&#10;&#10;Description generated with high confidence">
            <a:extLst>
              <a:ext uri="{FF2B5EF4-FFF2-40B4-BE49-F238E27FC236}">
                <a16:creationId xmlns:a16="http://schemas.microsoft.com/office/drawing/2014/main" id="{211C5A8D-8E5F-4123-989E-539FFCFDB9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17AED6-55FC-474C-9327-4BEA2CD46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53840" y="2988553"/>
            <a:ext cx="7467600" cy="1830019"/>
          </a:xfrm>
        </p:spPr>
        <p:txBody>
          <a:bodyPr anchor="b"/>
          <a:lstStyle>
            <a:lvl1pPr algn="l"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C92BD0-C25C-41D5-81A4-824838D3E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53838" y="5090031"/>
            <a:ext cx="7467601" cy="885046"/>
          </a:xfrm>
        </p:spPr>
        <p:txBody>
          <a:bodyPr/>
          <a:lstStyle>
            <a:lvl1pPr marL="0" indent="0" algn="l">
              <a:buNone/>
              <a:defRPr sz="3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C15ED6-D67F-4BA2-A48F-31D4FCA85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AA128-A2EC-4BB8-B00D-58EC23049D2E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CEB6D8-AA47-416B-838E-0E4499E6D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" y="6994667"/>
            <a:ext cx="4114800" cy="23547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4CE47-9326-4C5C-A6B5-F06AAF951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800" y="6994667"/>
            <a:ext cx="457200" cy="235472"/>
          </a:xfrm>
        </p:spPr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9315BBA4-9CF9-424B-B032-B926B39630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FEB713-E8BA-4387-B80A-7E291DB51372}"/>
              </a:ext>
            </a:extLst>
          </p:cNvPr>
          <p:cNvCxnSpPr/>
          <p:nvPr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348450-A29D-4D64-A8F7-BD704C210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4475" y="5975350"/>
            <a:ext cx="7467600" cy="690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Date here</a:t>
            </a:r>
          </a:p>
        </p:txBody>
      </p:sp>
      <p:pic>
        <p:nvPicPr>
          <p:cNvPr id="7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id="{160FC4FD-DDB3-2F04-438D-4EA4AA8566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F095608A-F7B1-C8A8-BAD1-B772CA14B1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8BF216-C17A-E97F-5116-C200EF6B052C}"/>
              </a:ext>
            </a:extLst>
          </p:cNvPr>
          <p:cNvCxnSpPr/>
          <p:nvPr userDrawn="1"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014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39"/>
            <a:ext cx="2459991" cy="423769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2459991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16250" y="1862039"/>
            <a:ext cx="8809993" cy="4237691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016250" y="1544165"/>
            <a:ext cx="8809993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245999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016250" y="1775346"/>
            <a:ext cx="880999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10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846095" y="1862039"/>
            <a:ext cx="7980148" cy="4237691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846095" y="1544165"/>
            <a:ext cx="798014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1775346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8148A0B-904A-C8CC-99B5-2AFA98BCF06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183648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E17A0DB-2382-36A3-031E-04281F024B7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3865773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6774E7B-249D-0359-4506-7C6B934109AA}"/>
              </a:ext>
            </a:extLst>
          </p:cNvPr>
          <p:cNvCxnSpPr>
            <a:cxnSpLocks/>
          </p:cNvCxnSpPr>
          <p:nvPr userDrawn="1"/>
        </p:nvCxnSpPr>
        <p:spPr>
          <a:xfrm>
            <a:off x="365759" y="4096954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54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97D0FD10-712C-7D59-AEA7-F061C793A7C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8BC5A14-655D-4672-DF74-4500C9A34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30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0" imgH="380" progId="TCLayout.ActiveDocument.1">
                  <p:embed/>
                </p:oleObj>
              </mc:Choice>
              <mc:Fallback>
                <p:oleObj name="think-cell Slide" r:id="rId4" imgW="380" imgH="38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BC5A14-655D-4672-DF74-4500C9A34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683321"/>
            <a:ext cx="3374968" cy="258037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365447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846095" y="1683321"/>
            <a:ext cx="7980148" cy="258037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846095" y="1365447"/>
            <a:ext cx="798014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596628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1596628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8148A0B-904A-C8CC-99B5-2AFA98BCF06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680820"/>
            <a:ext cx="3374968" cy="191609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E17A0DB-2382-36A3-031E-04281F024B7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4362945"/>
            <a:ext cx="3374968" cy="131935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6774E7B-249D-0359-4506-7C6B934109AA}"/>
              </a:ext>
            </a:extLst>
          </p:cNvPr>
          <p:cNvCxnSpPr>
            <a:cxnSpLocks/>
          </p:cNvCxnSpPr>
          <p:nvPr userDrawn="1"/>
        </p:nvCxnSpPr>
        <p:spPr>
          <a:xfrm>
            <a:off x="365759" y="4594126"/>
            <a:ext cx="33749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A356E6F-9CAC-B4B9-4930-B93285FDDC5A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846095" y="4669295"/>
            <a:ext cx="7980148" cy="192761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B26DD88-377C-C3D5-5936-5F5AD1644925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3846095" y="4351422"/>
            <a:ext cx="7980148" cy="124772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ED884D-14DA-7AEB-789C-CE1C89240D5B}"/>
              </a:ext>
            </a:extLst>
          </p:cNvPr>
          <p:cNvCxnSpPr>
            <a:cxnSpLocks/>
          </p:cNvCxnSpPr>
          <p:nvPr userDrawn="1"/>
        </p:nvCxnSpPr>
        <p:spPr>
          <a:xfrm>
            <a:off x="3846095" y="4582602"/>
            <a:ext cx="798014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12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1AC60217-FF99-510B-634A-49B8D78F78B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12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11651138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27378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1165113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266CB29-9160-99CF-F996-1236700D746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182445" y="1862039"/>
            <a:ext cx="3834452" cy="4355869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592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A61B8B4B-8B47-1982-0DF5-D48B66D0A83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4620822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4620822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62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B5BC8A9F-0E17-D8BD-4B4C-86B274F107B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51C589-B22B-38A2-5063-965D22FEAF73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346628"/>
            <a:ext cx="11429366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75C7F99-B35D-B91A-55B1-287F691FE6C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65759" y="4028753"/>
            <a:ext cx="11429366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C31EA05-22DB-2214-1C3B-C040D7DDA7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4268566"/>
            <a:ext cx="1142936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59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14D83055-551A-23D5-E6DD-FA84B04F16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234FBD-A6E3-4C4C-B4E0-40C732F8E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9360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95250-C0DE-4554-B539-756FB2721470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0CD16C-F1DF-4750-8B17-BDAAD3770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0250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64200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420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C1C78-1C03-42A8-BE40-52541ED7BF4D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08725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45456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46BDEE18-6532-AFFA-F433-C543AA7CB0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75E13-A46C-483F-8D38-F8449850A278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8400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CCCA883-3F5F-422F-843D-4DFA1AD0EB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33352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BA78BA7-5856-43CD-88B8-B7EA2EA52BC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759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47506CB5-28F9-488D-8658-CC3D73AEFAB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33352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58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E3A89-866A-401F-B934-D30BEACA7357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3955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D57DA0A-8874-49D1-B525-4A76E0EF60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2152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6DE4A8A-3204-4C00-9B0C-2169D17FD4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759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2600205-93D2-433B-AEF3-68932EFC86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13955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E54DC45-49A6-4057-B56A-2553C58AE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2152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11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B63E391A-E54E-C9EB-70A0-F4C43D7A023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114300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01783-7B61-4FFD-A6C0-6BFB8F235C39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14EDF-4037-444E-85F9-186AD98A2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598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6C9A9C4-F4AD-6D7F-8E3A-C118305CF5C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88D16-8F4C-4CEC-A6BD-36576E12E8BE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8566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E36E1C-E504-4657-966D-8EF98C73A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2E1280-1E1E-4515-B2DB-80ED229F64A7}" type="datetime1">
              <a:rPr lang="en-US" smtClean="0"/>
              <a:t>9/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3B36C1-E695-46A3-8F1C-1ABA6318C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87FEE9-115C-4E8E-9B57-67CA5A660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89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-no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E36E1C-E504-4657-966D-8EF98C73A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FB456-A6EB-48C6-A6B7-9536B757FDA5}" type="datetime1">
              <a:rPr lang="en-US" smtClean="0"/>
              <a:t>9/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3B36C1-E695-46A3-8F1C-1ABA6318C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87FEE9-115C-4E8E-9B57-67CA5A660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59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map&#10;&#10;Description generated with high confidence">
            <a:extLst>
              <a:ext uri="{FF2B5EF4-FFF2-40B4-BE49-F238E27FC236}">
                <a16:creationId xmlns:a16="http://schemas.microsoft.com/office/drawing/2014/main" id="{211C5A8D-8E5F-4123-989E-539FFCFDB9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17AED6-55FC-474C-9327-4BEA2CD46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53840" y="2988553"/>
            <a:ext cx="7467600" cy="1830019"/>
          </a:xfrm>
        </p:spPr>
        <p:txBody>
          <a:bodyPr anchor="b"/>
          <a:lstStyle>
            <a:lvl1pPr algn="l"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C92BD0-C25C-41D5-81A4-824838D3E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53838" y="5090031"/>
            <a:ext cx="7467601" cy="885046"/>
          </a:xfrm>
        </p:spPr>
        <p:txBody>
          <a:bodyPr/>
          <a:lstStyle>
            <a:lvl1pPr marL="0" indent="0" algn="l">
              <a:buNone/>
              <a:defRPr sz="3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C15ED6-D67F-4BA2-A48F-31D4FCA85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AA128-A2EC-4BB8-B00D-58EC23049D2E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CEB6D8-AA47-416B-838E-0E4499E6D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" y="6994667"/>
            <a:ext cx="4114800" cy="23547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4CE47-9326-4C5C-A6B5-F06AAF951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800" y="6994667"/>
            <a:ext cx="457200" cy="235472"/>
          </a:xfrm>
        </p:spPr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9315BBA4-9CF9-424B-B032-B926B39630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20" y="491698"/>
            <a:ext cx="3852680" cy="104470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FEB713-E8BA-4387-B80A-7E291DB51372}"/>
              </a:ext>
            </a:extLst>
          </p:cNvPr>
          <p:cNvCxnSpPr/>
          <p:nvPr userDrawn="1"/>
        </p:nvCxnSpPr>
        <p:spPr>
          <a:xfrm>
            <a:off x="4053840" y="4937760"/>
            <a:ext cx="813816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348450-A29D-4D64-A8F7-BD704C210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4475" y="5975350"/>
            <a:ext cx="7467600" cy="69056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Date here</a:t>
            </a:r>
          </a:p>
        </p:txBody>
      </p:sp>
    </p:spTree>
    <p:extLst>
      <p:ext uri="{BB962C8B-B14F-4D97-AF65-F5344CB8AC3E}">
        <p14:creationId xmlns:p14="http://schemas.microsoft.com/office/powerpoint/2010/main" val="264720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114300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01783-7B61-4FFD-A6C0-6BFB8F235C39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14EDF-4037-444E-85F9-186AD98A2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080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Half-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573024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F335-448D-44BE-9C42-E53D9893F860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9A81DF-AF58-4FE2-944B-B7CA86ED6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156F36-EE8C-4E8B-B560-0BB11ED5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1650" y="1463675"/>
            <a:ext cx="4975225" cy="48450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8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D9BADB-D605-41DA-98C6-7DA2A55FA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BB9184-BB7D-47D9-9C43-DD07D85D9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93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81F77F-A373-4EEC-A389-188B8DA2E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FA279-8453-4340-8599-963437AB02CD}" type="datetime1">
              <a:rPr lang="en-US" smtClean="0"/>
              <a:t>9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71B9E8-9F7F-49C3-84DF-0077FD439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4690F-3F53-46FB-9C61-49FF2975A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FE9646-3F59-4832-AF86-19D1F781D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B79BD40-1CFA-40FD-AF19-8D4B31A8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14541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30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234FBD-A6E3-4C4C-B4E0-40C732F8E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9360" y="1921400"/>
            <a:ext cx="5486400" cy="438912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95250-C0DE-4554-B539-756FB2721470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0CD16C-F1DF-4750-8B17-BDAAD3770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181182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64200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9360" y="146420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C1C78-1C03-42A8-BE40-52541ED7BF4D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08725" y="3841640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349357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99430-5718-4548-8CAF-89226B77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2DE25-3D2D-45A6-960E-87D1ED00D1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75E13-A46C-483F-8D38-F8449850A278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726AE51-82B4-4555-810B-52EAF725BD2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0" y="4066101"/>
            <a:ext cx="54864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8400" y="1464200"/>
            <a:ext cx="5486400" cy="36576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CCCA883-3F5F-422F-843D-4DFA1AD0EB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33352" y="1913628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BA78BA7-5856-43CD-88B8-B7EA2EA52BC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759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47506CB5-28F9-488D-8658-CC3D73AEFAB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33352" y="4562655"/>
            <a:ext cx="5486400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defRPr sz="1100"/>
            </a:lvl1pPr>
            <a:lvl2pPr marL="320040" indent="-137160">
              <a:spcBef>
                <a:spcPts val="300"/>
              </a:spcBef>
              <a:defRPr sz="1100"/>
            </a:lvl2pPr>
            <a:lvl3pPr marL="457200" indent="-137160">
              <a:spcBef>
                <a:spcPts val="300"/>
              </a:spcBef>
              <a:defRPr sz="1100"/>
            </a:lvl3pPr>
            <a:lvl4pPr marL="594360" indent="-137160">
              <a:spcBef>
                <a:spcPts val="300"/>
              </a:spcBef>
              <a:defRPr sz="1100"/>
            </a:lvl4pPr>
            <a:lvl5pPr marL="731520" indent="-137160">
              <a:spcBef>
                <a:spcPts val="300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04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Half-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0AC8D-639E-4829-B96C-EDB3B1574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573024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E9607-02C1-4B6A-8114-99594ACFF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F335-448D-44BE-9C42-E53D9893F860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1972E-18D7-443A-801C-E0715588F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4B40-662A-4C5A-A47A-172AA19C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9A81DF-AF58-4FE2-944B-B7CA86ED6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A6AA06-E4CC-427C-A0F7-953792CB2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156F36-EE8C-4E8B-B560-0BB11ED5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1650" y="1463675"/>
            <a:ext cx="4975225" cy="48450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787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quadrant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A86834-8AAF-43E7-B169-2F334F29AC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759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A21947-0673-4B9F-96BB-9DE45488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E3A89-866A-401F-B934-D30BEACA7357}" type="datetime1">
              <a:rPr lang="en-US" smtClean="0"/>
              <a:t>9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38BB8E-99F0-4396-B752-16539DE44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A3D708-3144-488C-A7ED-7F8A35D4F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E8D81-A589-471F-94B6-A181B1C14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53F98C7-EEC3-4F22-A9B1-93608D08CB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9D21559-840B-4CDE-808E-02ABED67CE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3955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D57DA0A-8874-49D1-B525-4A76E0EF60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2152" y="1464200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6DE4A8A-3204-4C00-9B0C-2169D17FD4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759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2600205-93D2-433B-AEF3-68932EFC86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13955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E54DC45-49A6-4057-B56A-2553C58AE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2152" y="4024067"/>
            <a:ext cx="3657600" cy="36576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443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88D16-8F4C-4CEC-A6BD-36576E12E8BE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314761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5E89F-C984-5EC9-C88A-F8A37D1B7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71500"/>
            <a:ext cx="110490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ABBFFFC-4A62-D7DA-D186-A68A2AF381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500" y="1158420"/>
            <a:ext cx="11049000" cy="40368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200"/>
            </a:lvl1pPr>
            <a:lvl2pPr marL="227012" indent="0">
              <a:buNone/>
              <a:defRPr/>
            </a:lvl2pPr>
            <a:lvl3pPr marL="460375" indent="0">
              <a:buNone/>
              <a:defRPr/>
            </a:lvl3pPr>
            <a:lvl4pPr marL="625475" indent="0">
              <a:buNone/>
              <a:defRPr/>
            </a:lvl4pPr>
            <a:lvl5pPr marL="7985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33D797-4FB2-4DE2-244F-66B8D169D1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lalom. All Rights Reserved. Proprietary and Confidential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9A54F-D44C-840B-946D-8F1906CFC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4779F9C-2379-4946-84FF-DBB76193FE00}" type="datetimeyyyy">
              <a:rPr lang="en-US" smtClean="0"/>
              <a:t>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60216C-BF44-E98D-DA57-6EC6F458E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643E34-DC33-45ED-8E33-EC0D5991E9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213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806A6253-A954-F89B-9567-210B46FE09D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id="{85F68518-A27D-418A-B61B-1F6027F18E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414568-26F0-40F3-86FB-42A9CDC58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718" y="2213120"/>
            <a:ext cx="4799166" cy="2596791"/>
          </a:xfrm>
        </p:spPr>
        <p:txBody>
          <a:bodyPr anchor="b"/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2C379E-33D6-41D6-8C99-3D49B15552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2718" y="5092845"/>
            <a:ext cx="479916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5F90C0-F218-4415-A595-A3A41FD06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7ED8D-F234-4A0B-A456-91DAAF18C543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6B923-73FC-429A-B492-9C66B4338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30537C-1231-45AC-A134-4C6382090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FE6E889F-020E-4BE2-85AC-1E42FA36AB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5369" y="549216"/>
            <a:ext cx="2562081" cy="72671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849BF1C-418C-49BC-B438-91594E24846F}"/>
              </a:ext>
            </a:extLst>
          </p:cNvPr>
          <p:cNvCxnSpPr>
            <a:cxnSpLocks/>
          </p:cNvCxnSpPr>
          <p:nvPr/>
        </p:nvCxnSpPr>
        <p:spPr>
          <a:xfrm>
            <a:off x="6096000" y="4937760"/>
            <a:ext cx="609600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 up of a map&#10;&#10;Description generated with high confidence">
            <a:extLst>
              <a:ext uri="{FF2B5EF4-FFF2-40B4-BE49-F238E27FC236}">
                <a16:creationId xmlns:a16="http://schemas.microsoft.com/office/drawing/2014/main" id="{7D9A10C5-F166-332F-C937-334220EF5B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403"/>
            <a:ext cx="6035040" cy="6858000"/>
          </a:xfrm>
          <a:prstGeom prst="rect">
            <a:avLst/>
          </a:prstGeom>
        </p:spPr>
      </p:pic>
      <p:pic>
        <p:nvPicPr>
          <p:cNvPr id="11" name="Picture 10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8ABB818E-FBDD-B4F9-4554-D71FF02371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5369" y="549216"/>
            <a:ext cx="2562081" cy="72671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3A6EAC9-F5AD-1401-20E3-E64E84E67CF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937760"/>
            <a:ext cx="609600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9700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D9BADB-D605-41DA-98C6-7DA2A55FA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BB9184-BB7D-47D9-9C43-DD07D85D9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9360" y="1463040"/>
            <a:ext cx="5486400" cy="4846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81F77F-A373-4EEC-A389-188B8DA2E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FA279-8453-4340-8599-963437AB02CD}" type="datetime1">
              <a:rPr lang="en-US" smtClean="0"/>
              <a:t>9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71B9E8-9F7F-49C3-84DF-0077FD439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4690F-3F53-46FB-9C61-49FF2975A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FE9646-3F59-4832-AF86-19D1F781D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B79BD40-1CFA-40FD-AF19-8D4B31A8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</p:spTree>
    <p:extLst>
      <p:ext uri="{BB962C8B-B14F-4D97-AF65-F5344CB8AC3E}">
        <p14:creationId xmlns:p14="http://schemas.microsoft.com/office/powerpoint/2010/main" val="72541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o not remove" hidden="1">
            <a:extLst>
              <a:ext uri="{FF2B5EF4-FFF2-40B4-BE49-F238E27FC236}">
                <a16:creationId xmlns:a16="http://schemas.microsoft.com/office/drawing/2014/main" id="{B7237C81-55D3-4F0B-776E-D07029F7D27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410448"/>
            <a:ext cx="11429366" cy="144876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D6133D4-61E7-7FEF-88C0-05219B811ABF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8" y="3377226"/>
            <a:ext cx="11429365" cy="2660155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8F2ACFE3-363F-8F7F-8FAD-0360C004D17A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8" y="3059352"/>
            <a:ext cx="11429365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F6DE36-32D9-B32D-8F55-A8D74CE75EB5}"/>
              </a:ext>
            </a:extLst>
          </p:cNvPr>
          <p:cNvCxnSpPr>
            <a:cxnSpLocks/>
          </p:cNvCxnSpPr>
          <p:nvPr userDrawn="1"/>
        </p:nvCxnSpPr>
        <p:spPr>
          <a:xfrm>
            <a:off x="365759" y="3290533"/>
            <a:ext cx="1142936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35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 not remove" hidden="1">
            <a:extLst>
              <a:ext uri="{FF2B5EF4-FFF2-40B4-BE49-F238E27FC236}">
                <a16:creationId xmlns:a16="http://schemas.microsoft.com/office/drawing/2014/main" id="{BFCD7C4E-C48B-1A46-4A75-C4E58E77DC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D6133D4-61E7-7FEF-88C0-05219B811ABF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365759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8F2ACFE3-363F-8F7F-8FAD-0360C004D17A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365759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0245D2AD-439A-96A7-A7BF-3DCE55D5C7BE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6212221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5D4262A-2019-F8DE-5AC8-29B44B3B727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212221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F6DE36-32D9-B32D-8F55-A8D74CE75EB5}"/>
              </a:ext>
            </a:extLst>
          </p:cNvPr>
          <p:cNvCxnSpPr>
            <a:cxnSpLocks/>
          </p:cNvCxnSpPr>
          <p:nvPr userDrawn="1"/>
        </p:nvCxnSpPr>
        <p:spPr>
          <a:xfrm>
            <a:off x="365759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818799-DB84-2AA1-3757-ED36EB66442E}"/>
              </a:ext>
            </a:extLst>
          </p:cNvPr>
          <p:cNvCxnSpPr>
            <a:cxnSpLocks/>
          </p:cNvCxnSpPr>
          <p:nvPr userDrawn="1"/>
        </p:nvCxnSpPr>
        <p:spPr>
          <a:xfrm>
            <a:off x="6212221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22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CC786490-A2E9-677A-1D77-D48F94B4D2A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75C7F99-B35D-B91A-55B1-287F691FE6C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365759" y="1391905"/>
            <a:ext cx="11429366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6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C31EA05-22DB-2214-1C3B-C040D7DDA7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631718"/>
            <a:ext cx="1142936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8E9F64-115A-001C-B76E-39F73EE9B8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713978"/>
            <a:ext cx="11430000" cy="45953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426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F9F5019-A7A9-FB4C-96A0-2FDB553B872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66FF0-2B53-4113-9422-6AC69231A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9459-0629-4437-B9A2-24783E950191}" type="datetime1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407F2C-D8A8-4269-B479-4944E534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0271-CA9D-4DED-BF88-25BA18AE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27F19-CD87-4C07-942B-1F073456610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C27141-A2C9-4624-916E-997101EF6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DA5BA4-CE60-4265-AAE5-2170276DB7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005840"/>
            <a:ext cx="11430000" cy="2467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if neede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85ABCE-B581-F9D0-5D3D-8D02DE3CA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759" y="1862039"/>
            <a:ext cx="5614022" cy="4237693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3AD3EEC-F397-4F08-4CAB-1FE81F5A783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65759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49C13DF-F0FB-65CB-3678-29E5AB20F6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12221" y="1862040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E98B1D2-0F42-452A-FB34-DE9ACF9271C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2221" y="1544165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743DEA-D852-9818-7496-86D04E256AEC}"/>
              </a:ext>
            </a:extLst>
          </p:cNvPr>
          <p:cNvCxnSpPr>
            <a:cxnSpLocks/>
          </p:cNvCxnSpPr>
          <p:nvPr userDrawn="1"/>
        </p:nvCxnSpPr>
        <p:spPr>
          <a:xfrm>
            <a:off x="365759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8FA5DE-3F5E-E596-D3F4-3C3F3202058B}"/>
              </a:ext>
            </a:extLst>
          </p:cNvPr>
          <p:cNvCxnSpPr>
            <a:cxnSpLocks/>
          </p:cNvCxnSpPr>
          <p:nvPr userDrawn="1"/>
        </p:nvCxnSpPr>
        <p:spPr>
          <a:xfrm>
            <a:off x="6212221" y="1775346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0245D2AD-439A-96A7-A7BF-3DCE55D5C7BE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6212221" y="4316659"/>
            <a:ext cx="5614022" cy="1783080"/>
          </a:xfrm>
        </p:spPr>
        <p:txBody>
          <a:bodyPr/>
          <a:lstStyle>
            <a:lvl1pPr marL="182880" indent="-18288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  <a:lvl2pPr marL="32004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2pPr>
            <a:lvl3pPr marL="45720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3pPr>
            <a:lvl4pPr marL="59436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4pPr>
            <a:lvl5pPr marL="731520" indent="-137160"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5D4262A-2019-F8DE-5AC8-29B44B3B727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212221" y="3998784"/>
            <a:ext cx="5614022" cy="157553"/>
          </a:xfrm>
        </p:spPr>
        <p:txBody>
          <a:bodyPr anchor="ctr"/>
          <a:lstStyle>
            <a:lvl1pPr marL="0" indent="0">
              <a:spcBef>
                <a:spcPts val="600"/>
              </a:spcBef>
              <a:buNone/>
              <a:defRPr sz="1100" b="1">
                <a:solidFill>
                  <a:srgbClr val="011E41"/>
                </a:solidFill>
              </a:defRPr>
            </a:lvl1pPr>
            <a:lvl2pPr marL="320040" indent="-137160">
              <a:spcBef>
                <a:spcPts val="300"/>
              </a:spcBef>
              <a:defRPr sz="1100" b="1"/>
            </a:lvl2pPr>
            <a:lvl3pPr marL="457200" indent="-137160">
              <a:spcBef>
                <a:spcPts val="300"/>
              </a:spcBef>
              <a:defRPr sz="1100" b="1"/>
            </a:lvl3pPr>
            <a:lvl4pPr marL="594360" indent="-137160">
              <a:spcBef>
                <a:spcPts val="300"/>
              </a:spcBef>
              <a:defRPr sz="1100" b="1"/>
            </a:lvl4pPr>
            <a:lvl5pPr marL="731520" indent="-137160">
              <a:spcBef>
                <a:spcPts val="300"/>
              </a:spcBef>
              <a:defRPr sz="1100" b="1"/>
            </a:lvl5pPr>
          </a:lstStyle>
          <a:p>
            <a:pPr lvl="0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818799-DB84-2AA1-3757-ED36EB66442E}"/>
              </a:ext>
            </a:extLst>
          </p:cNvPr>
          <p:cNvCxnSpPr>
            <a:cxnSpLocks/>
          </p:cNvCxnSpPr>
          <p:nvPr userDrawn="1"/>
        </p:nvCxnSpPr>
        <p:spPr>
          <a:xfrm>
            <a:off x="6212221" y="4229965"/>
            <a:ext cx="561402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110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B2FBFE-803B-4F95-AD0E-BB7AFF7AE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59" y="169127"/>
            <a:ext cx="8961120" cy="6788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10A5EA-7F80-4DFC-9D0E-5D19415977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463040"/>
            <a:ext cx="11430000" cy="4846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86DBCE-2E55-4A04-A645-4BEDFB8901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2895" y="7559508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F4EDCB-9599-472D-B8A7-B73B3E6A9F39}" type="datetime1">
              <a:rPr lang="en-US" smtClean="0"/>
              <a:t>9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DB954-90D5-4650-81D4-2BA6D9362A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5759" y="6622528"/>
            <a:ext cx="10881360" cy="2354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4BCA4F-30FD-4295-9AC1-90082ECA3D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622528"/>
            <a:ext cx="457200" cy="2354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5D5A7577-F2C9-4E03-9D98-B419871FF33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6A9ED1-0251-4678-A4A1-00D751522A46}"/>
              </a:ext>
            </a:extLst>
          </p:cNvPr>
          <p:cNvCxnSpPr/>
          <p:nvPr/>
        </p:nvCxnSpPr>
        <p:spPr>
          <a:xfrm>
            <a:off x="11734800" y="6558595"/>
            <a:ext cx="4572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A84078-D18A-4B61-84D4-C5CBCD7ED28E}"/>
              </a:ext>
            </a:extLst>
          </p:cNvPr>
          <p:cNvCxnSpPr/>
          <p:nvPr/>
        </p:nvCxnSpPr>
        <p:spPr>
          <a:xfrm>
            <a:off x="0" y="914426"/>
            <a:ext cx="12187825" cy="0"/>
          </a:xfrm>
          <a:prstGeom prst="line">
            <a:avLst/>
          </a:prstGeom>
          <a:ln w="34925">
            <a:solidFill>
              <a:srgbClr val="C71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46CD3A5D-2A1A-4882-9528-658076A3443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0" y="192024"/>
            <a:ext cx="2191893" cy="59436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514B1B-AE84-D16C-6A8F-3E361F10E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66759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01" imgH="501" progId="TCLayout.ActiveDocument.1">
                  <p:embed/>
                </p:oleObj>
              </mc:Choice>
              <mc:Fallback>
                <p:oleObj name="think-cell Slide" r:id="rId37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514B1B-AE84-D16C-6A8F-3E361F10E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D73E242-8889-D8A0-BB27-949493F6FB08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4D3818-D3C7-4426-3A1B-A28FCD14AA9A}"/>
              </a:ext>
            </a:extLst>
          </p:cNvPr>
          <p:cNvCxnSpPr/>
          <p:nvPr userDrawn="1"/>
        </p:nvCxnSpPr>
        <p:spPr>
          <a:xfrm>
            <a:off x="11734800" y="6558595"/>
            <a:ext cx="4572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E52995-D5B3-F1D9-E64D-8AE9636BF181}"/>
              </a:ext>
            </a:extLst>
          </p:cNvPr>
          <p:cNvCxnSpPr/>
          <p:nvPr userDrawn="1"/>
        </p:nvCxnSpPr>
        <p:spPr>
          <a:xfrm>
            <a:off x="0" y="914426"/>
            <a:ext cx="12187825" cy="0"/>
          </a:xfrm>
          <a:prstGeom prst="line">
            <a:avLst/>
          </a:prstGeom>
          <a:ln w="34925">
            <a:solidFill>
              <a:srgbClr val="C71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E92DC790-2975-7A4E-14C1-311BE4AD825B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0" y="192024"/>
            <a:ext cx="2191893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221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83" r:id="rId6"/>
    <p:sldLayoutId id="2147483684" r:id="rId7"/>
    <p:sldLayoutId id="2147483685" r:id="rId8"/>
    <p:sldLayoutId id="2147483687" r:id="rId9"/>
    <p:sldLayoutId id="2147483690" r:id="rId10"/>
    <p:sldLayoutId id="2147483691" r:id="rId11"/>
    <p:sldLayoutId id="2147483693" r:id="rId12"/>
    <p:sldLayoutId id="2147483688" r:id="rId13"/>
    <p:sldLayoutId id="2147483686" r:id="rId14"/>
    <p:sldLayoutId id="2147483689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49" r:id="rId23"/>
    <p:sldLayoutId id="2147483650" r:id="rId24"/>
    <p:sldLayoutId id="2147483667" r:id="rId25"/>
    <p:sldLayoutId id="2147483652" r:id="rId26"/>
    <p:sldLayoutId id="2147483653" r:id="rId27"/>
    <p:sldLayoutId id="2147483664" r:id="rId28"/>
    <p:sldLayoutId id="2147483666" r:id="rId29"/>
    <p:sldLayoutId id="2147483668" r:id="rId30"/>
    <p:sldLayoutId id="2147483654" r:id="rId31"/>
    <p:sldLayoutId id="2147483698" r:id="rId32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943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7724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3" Type="http://schemas.openxmlformats.org/officeDocument/2006/relationships/image" Target="../media/image14.sv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image" Target="../media/image13.png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sv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DF1FC-4D01-4D2B-8BDD-0281E53AFA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ump by Priority - WA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3BA7A4-FF87-4574-8E53-DA9C2C6C8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6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6296C1E-97EE-C99A-72C7-44543EBD7B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6960" y="2183674"/>
            <a:ext cx="5699760" cy="357365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Less than 20 minutes per day doing data entry</a:t>
            </a:r>
          </a:p>
          <a:p>
            <a:r>
              <a:rPr lang="en-US" dirty="0"/>
              <a:t>85%+ Productive time</a:t>
            </a:r>
          </a:p>
          <a:p>
            <a:pPr lvl="1"/>
            <a:r>
              <a:rPr lang="en-US" dirty="0"/>
              <a:t>LOs area assigned high value tasks </a:t>
            </a:r>
            <a:endParaRPr lang="en-US" b="1" dirty="0"/>
          </a:p>
          <a:p>
            <a:pPr lvl="1"/>
            <a:r>
              <a:rPr lang="en-US" dirty="0"/>
              <a:t>End of Shift Report is automatically compiled for the field management team! </a:t>
            </a:r>
            <a:r>
              <a:rPr lang="en-US" b="1" dirty="0"/>
              <a:t>No more digging in outlook, notebooks or texts to explain past production variances!</a:t>
            </a:r>
            <a:endParaRPr lang="en-US" b="1" dirty="0">
              <a:cs typeface="Arial"/>
            </a:endParaRPr>
          </a:p>
          <a:p>
            <a:r>
              <a:rPr lang="en-US" dirty="0"/>
              <a:t>Seamless field communication historized in the data lake</a:t>
            </a:r>
          </a:p>
          <a:p>
            <a:r>
              <a:rPr lang="en-US" dirty="0"/>
              <a:t>Day to Day note taking is seamlessly integrated with back-office systems!</a:t>
            </a:r>
          </a:p>
          <a:p>
            <a:r>
              <a:rPr lang="en-US" dirty="0"/>
              <a:t>Resources Allocated to Top Issues (Field Wide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825A75-73E4-FDF1-6927-1F455E416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AF332F-8851-2BD3-75F8-A839DD849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94" y="169127"/>
            <a:ext cx="9562012" cy="678823"/>
          </a:xfrm>
        </p:spPr>
        <p:txBody>
          <a:bodyPr/>
          <a:lstStyle/>
          <a:p>
            <a:r>
              <a:rPr lang="en-US"/>
              <a:t>Maverick Operational Priority System (MAV OPS) </a:t>
            </a:r>
          </a:p>
        </p:txBody>
      </p:sp>
      <p:pic>
        <p:nvPicPr>
          <p:cNvPr id="1031" name="Picture 8">
            <a:extLst>
              <a:ext uri="{FF2B5EF4-FFF2-40B4-BE49-F238E27FC236}">
                <a16:creationId xmlns:a16="http://schemas.microsoft.com/office/drawing/2014/main" id="{4D195EC4-23EF-C570-086D-4D17E0DEB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61" y="2626903"/>
            <a:ext cx="5351690" cy="1604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675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2FADF9F-12D9-9A04-7BF0-4F8CDE819B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3333" y="1182205"/>
            <a:ext cx="4484914" cy="566875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200"/>
              <a:t>Key Sources of Waste</a:t>
            </a:r>
            <a:endParaRPr lang="en-US" sz="1200">
              <a:cs typeface="Arial"/>
            </a:endParaRPr>
          </a:p>
          <a:p>
            <a:pPr lvl="1"/>
            <a:r>
              <a:rPr lang="en-US" sz="1200"/>
              <a:t>Data Analysis</a:t>
            </a:r>
          </a:p>
          <a:p>
            <a:pPr lvl="1"/>
            <a:r>
              <a:rPr lang="en-US" sz="1200"/>
              <a:t>Data Entry</a:t>
            </a:r>
          </a:p>
          <a:p>
            <a:pPr lvl="1"/>
            <a:r>
              <a:rPr lang="en-US" sz="1200"/>
              <a:t>Opportunity Cost (going to low priority sites)</a:t>
            </a:r>
          </a:p>
          <a:p>
            <a:pPr lvl="1"/>
            <a:r>
              <a:rPr lang="en-US" sz="1200"/>
              <a:t>Wasted Travel </a:t>
            </a:r>
          </a:p>
          <a:p>
            <a:pPr lvl="2"/>
            <a:r>
              <a:rPr lang="en-US" sz="1200"/>
              <a:t>Not able to fix the issue </a:t>
            </a:r>
          </a:p>
          <a:p>
            <a:pPr lvl="2"/>
            <a:r>
              <a:rPr lang="en-US" sz="1200"/>
              <a:t>Re-routed mid flight </a:t>
            </a:r>
          </a:p>
          <a:p>
            <a:pPr lvl="1"/>
            <a:r>
              <a:rPr lang="en-US" sz="1200"/>
              <a:t>Collecting Unnecessary Information </a:t>
            </a:r>
          </a:p>
          <a:p>
            <a:pPr lvl="1"/>
            <a:r>
              <a:rPr lang="en-US" sz="1200"/>
              <a:t>Failing to fix / inspect things while on site </a:t>
            </a:r>
          </a:p>
          <a:p>
            <a:r>
              <a:rPr lang="en-US" sz="1200"/>
              <a:t>Capable people who are qualified to address issues are quickly dispatched. Their truck is loaded with the right tools and materials, they understand what is expected for the day at 6 AM. They are re-routed only if something critical comes up, which is communicated to them in an efficient manner.</a:t>
            </a:r>
          </a:p>
          <a:p>
            <a:r>
              <a:rPr lang="en-US" sz="1200"/>
              <a:t>Leading indicators of success </a:t>
            </a:r>
          </a:p>
          <a:p>
            <a:pPr lvl="1"/>
            <a:r>
              <a:rPr lang="en-US" sz="1200"/>
              <a:t>% Productive Time (Time working at Field Sites / Total Time)</a:t>
            </a:r>
          </a:p>
          <a:p>
            <a:pPr lvl="1"/>
            <a:r>
              <a:rPr lang="en-US" sz="1200"/>
              <a:t>Impact per Visit ($ Prod Returned + $ Inventory Sold / # visits)</a:t>
            </a:r>
          </a:p>
          <a:p>
            <a:pPr lvl="1"/>
            <a:r>
              <a:rPr lang="en-US" sz="1200"/>
              <a:t>Field Office vs. Productive Worker (Office Support LOE / Field Support LOE) (HRS within Office / HRS at Routes Stops)</a:t>
            </a:r>
          </a:p>
          <a:p>
            <a:r>
              <a:rPr lang="en-US" sz="1200"/>
              <a:t>Ultimately, </a:t>
            </a:r>
            <a:r>
              <a:rPr lang="en-US" sz="1200" b="1"/>
              <a:t>Cash flow </a:t>
            </a:r>
            <a:r>
              <a:rPr lang="en-US" sz="1200"/>
              <a:t>is the measure of success.</a:t>
            </a:r>
          </a:p>
          <a:p>
            <a:pPr lvl="1"/>
            <a:endParaRPr lang="en-US" sz="1200"/>
          </a:p>
          <a:p>
            <a:pPr lvl="1"/>
            <a:endParaRPr lang="en-US" sz="1200"/>
          </a:p>
          <a:p>
            <a:pPr lvl="1"/>
            <a:endParaRPr lang="en-US" sz="1200"/>
          </a:p>
          <a:p>
            <a:pPr lvl="1"/>
            <a:endParaRPr lang="en-US" sz="12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2D1E0-0714-9F45-CECA-A6C2CEA0C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A8AADD-6A16-4E1E-B3E5-08A45ED32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PIs to Measure </a:t>
            </a:r>
            <a:r>
              <a:rPr lang="en-US" err="1"/>
              <a:t>PbP</a:t>
            </a:r>
            <a:r>
              <a:rPr lang="en-US"/>
              <a:t> Success</a:t>
            </a:r>
          </a:p>
        </p:txBody>
      </p:sp>
      <p:pic>
        <p:nvPicPr>
          <p:cNvPr id="7" name="Graphic 6" descr="Programmer male outline">
            <a:extLst>
              <a:ext uri="{FF2B5EF4-FFF2-40B4-BE49-F238E27FC236}">
                <a16:creationId xmlns:a16="http://schemas.microsoft.com/office/drawing/2014/main" id="{CAAB9F62-2CE2-CC24-D8E8-2FB526309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7962" y="1600099"/>
            <a:ext cx="914400" cy="914400"/>
          </a:xfrm>
          <a:prstGeom prst="rect">
            <a:avLst/>
          </a:prstGeom>
        </p:spPr>
      </p:pic>
      <p:pic>
        <p:nvPicPr>
          <p:cNvPr id="8" name="Graphic 7" descr="Programmer male outline">
            <a:extLst>
              <a:ext uri="{FF2B5EF4-FFF2-40B4-BE49-F238E27FC236}">
                <a16:creationId xmlns:a16="http://schemas.microsoft.com/office/drawing/2014/main" id="{D9F067EC-2EBF-2F10-16F5-9DC6FE65D7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41960" y="1604181"/>
            <a:ext cx="914400" cy="914400"/>
          </a:xfrm>
          <a:prstGeom prst="rect">
            <a:avLst/>
          </a:prstGeom>
        </p:spPr>
      </p:pic>
      <p:pic>
        <p:nvPicPr>
          <p:cNvPr id="10" name="Graphic 9" descr="Clipboard Mixed outline">
            <a:extLst>
              <a:ext uri="{FF2B5EF4-FFF2-40B4-BE49-F238E27FC236}">
                <a16:creationId xmlns:a16="http://schemas.microsoft.com/office/drawing/2014/main" id="{E0CA9AF0-36D4-910E-AA9F-72C7BD3165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45908" y="4840178"/>
            <a:ext cx="914400" cy="914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C6865F0-930F-57C8-609E-44205695FBB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67966" y="1767604"/>
            <a:ext cx="1375171" cy="829356"/>
          </a:xfrm>
          <a:prstGeom prst="rect">
            <a:avLst/>
          </a:prstGeom>
        </p:spPr>
      </p:pic>
      <p:pic>
        <p:nvPicPr>
          <p:cNvPr id="14" name="Graphic 13" descr="Tools outline">
            <a:extLst>
              <a:ext uri="{FF2B5EF4-FFF2-40B4-BE49-F238E27FC236}">
                <a16:creationId xmlns:a16="http://schemas.microsoft.com/office/drawing/2014/main" id="{6FF57069-6CCF-2996-4A9A-6F0DF768A6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14439" y="1712801"/>
            <a:ext cx="671344" cy="671344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9641E77-46BA-AA02-A25A-719840F44AE6}"/>
              </a:ext>
            </a:extLst>
          </p:cNvPr>
          <p:cNvSpPr/>
          <p:nvPr/>
        </p:nvSpPr>
        <p:spPr>
          <a:xfrm>
            <a:off x="6088657" y="1371364"/>
            <a:ext cx="3910149" cy="1489166"/>
          </a:xfrm>
          <a:prstGeom prst="round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Repeat with solid fill">
            <a:extLst>
              <a:ext uri="{FF2B5EF4-FFF2-40B4-BE49-F238E27FC236}">
                <a16:creationId xmlns:a16="http://schemas.microsoft.com/office/drawing/2014/main" id="{BE5F6361-6C76-8E71-8A09-4671D57C42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0742" y="1358538"/>
            <a:ext cx="593749" cy="5937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C842C5B-470F-60A2-CE57-B16461D8C186}"/>
              </a:ext>
            </a:extLst>
          </p:cNvPr>
          <p:cNvSpPr txBox="1"/>
          <p:nvPr/>
        </p:nvSpPr>
        <p:spPr>
          <a:xfrm>
            <a:off x="6577318" y="2449832"/>
            <a:ext cx="8515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Tra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0DA229-5A35-B509-B758-E2C9B1F98A09}"/>
              </a:ext>
            </a:extLst>
          </p:cNvPr>
          <p:cNvSpPr txBox="1"/>
          <p:nvPr/>
        </p:nvSpPr>
        <p:spPr>
          <a:xfrm>
            <a:off x="7643137" y="2445801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Inspec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DE6F7E-097A-5CD4-DBA4-08E622AD8E13}"/>
              </a:ext>
            </a:extLst>
          </p:cNvPr>
          <p:cNvSpPr txBox="1"/>
          <p:nvPr/>
        </p:nvSpPr>
        <p:spPr>
          <a:xfrm>
            <a:off x="8849955" y="2431667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Fix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B8B73A4-28ED-2170-21FA-DDE6261AF2E1}"/>
              </a:ext>
            </a:extLst>
          </p:cNvPr>
          <p:cNvSpPr/>
          <p:nvPr/>
        </p:nvSpPr>
        <p:spPr>
          <a:xfrm>
            <a:off x="6088657" y="3012044"/>
            <a:ext cx="4547178" cy="3353686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phic 22" descr="Close with solid fill">
            <a:extLst>
              <a:ext uri="{FF2B5EF4-FFF2-40B4-BE49-F238E27FC236}">
                <a16:creationId xmlns:a16="http://schemas.microsoft.com/office/drawing/2014/main" id="{C365964E-2672-224E-0B3C-C9B7CCFCE0E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10912" y="3094505"/>
            <a:ext cx="692196" cy="69219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B4441F7-E20E-25D4-88DB-1F101F2E596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67965" y="3794175"/>
            <a:ext cx="1375171" cy="82935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EC4951C-39B5-5472-8230-5D1EE28AE048}"/>
              </a:ext>
            </a:extLst>
          </p:cNvPr>
          <p:cNvSpPr txBox="1"/>
          <p:nvPr/>
        </p:nvSpPr>
        <p:spPr>
          <a:xfrm>
            <a:off x="6187106" y="4446339"/>
            <a:ext cx="185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Wasted Mi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965D18-5120-2BA0-6BA3-B75B756BD644}"/>
              </a:ext>
            </a:extLst>
          </p:cNvPr>
          <p:cNvSpPr txBox="1"/>
          <p:nvPr/>
        </p:nvSpPr>
        <p:spPr>
          <a:xfrm>
            <a:off x="6267965" y="5688494"/>
            <a:ext cx="2145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Poor Inspection</a:t>
            </a:r>
          </a:p>
        </p:txBody>
      </p:sp>
      <p:pic>
        <p:nvPicPr>
          <p:cNvPr id="29" name="Graphic 28" descr="Clipboard Checked outline">
            <a:extLst>
              <a:ext uri="{FF2B5EF4-FFF2-40B4-BE49-F238E27FC236}">
                <a16:creationId xmlns:a16="http://schemas.microsoft.com/office/drawing/2014/main" id="{370E2034-D31B-B766-59D4-76D9E33152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53243" y="1604181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8CDB3F03-3F02-F798-3FC6-E3A498CCC188}"/>
              </a:ext>
            </a:extLst>
          </p:cNvPr>
          <p:cNvSpPr txBox="1"/>
          <p:nvPr/>
        </p:nvSpPr>
        <p:spPr>
          <a:xfrm>
            <a:off x="10424544" y="2491967"/>
            <a:ext cx="17526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C71F41"/>
                </a:solidFill>
              </a:rPr>
              <a:t>End of Shift Data Entr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2464FF1-8272-1751-0314-B3A94E9B8FD4}"/>
              </a:ext>
            </a:extLst>
          </p:cNvPr>
          <p:cNvSpPr txBox="1"/>
          <p:nvPr/>
        </p:nvSpPr>
        <p:spPr>
          <a:xfrm>
            <a:off x="4488018" y="2564858"/>
            <a:ext cx="17526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C71F41"/>
                </a:solidFill>
              </a:rPr>
              <a:t>Beginning of Shift Analysis</a:t>
            </a:r>
          </a:p>
        </p:txBody>
      </p:sp>
      <p:pic>
        <p:nvPicPr>
          <p:cNvPr id="33" name="Graphic 32" descr="Stopwatch with solid fill">
            <a:extLst>
              <a:ext uri="{FF2B5EF4-FFF2-40B4-BE49-F238E27FC236}">
                <a16:creationId xmlns:a16="http://schemas.microsoft.com/office/drawing/2014/main" id="{95021A74-F6C0-8513-BD14-C8A97EE8F9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34447" y="3102182"/>
            <a:ext cx="914400" cy="9144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38EF9E4C-60C3-2B5B-A52D-2BB8659886BE}"/>
              </a:ext>
            </a:extLst>
          </p:cNvPr>
          <p:cNvSpPr txBox="1"/>
          <p:nvPr/>
        </p:nvSpPr>
        <p:spPr>
          <a:xfrm>
            <a:off x="7825381" y="3921375"/>
            <a:ext cx="1856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Waiting on Approval</a:t>
            </a:r>
          </a:p>
        </p:txBody>
      </p:sp>
      <p:pic>
        <p:nvPicPr>
          <p:cNvPr id="35" name="Graphic 34" descr="Tools outline">
            <a:extLst>
              <a:ext uri="{FF2B5EF4-FFF2-40B4-BE49-F238E27FC236}">
                <a16:creationId xmlns:a16="http://schemas.microsoft.com/office/drawing/2014/main" id="{670FA1C5-555B-1BF3-821A-0D1D1181FF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39655" y="4809527"/>
            <a:ext cx="671344" cy="671344"/>
          </a:xfrm>
          <a:prstGeom prst="rect">
            <a:avLst/>
          </a:prstGeom>
        </p:spPr>
      </p:pic>
      <p:pic>
        <p:nvPicPr>
          <p:cNvPr id="36" name="Graphic 35" descr="Close with solid fill">
            <a:extLst>
              <a:ext uri="{FF2B5EF4-FFF2-40B4-BE49-F238E27FC236}">
                <a16:creationId xmlns:a16="http://schemas.microsoft.com/office/drawing/2014/main" id="{74AA39B8-41AD-D983-CD89-A0AED2CB98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13387" y="4809527"/>
            <a:ext cx="497612" cy="49761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88E93515-6122-E30D-4C2B-D3653BA13461}"/>
              </a:ext>
            </a:extLst>
          </p:cNvPr>
          <p:cNvSpPr txBox="1"/>
          <p:nvPr/>
        </p:nvSpPr>
        <p:spPr>
          <a:xfrm>
            <a:off x="8239655" y="5431412"/>
            <a:ext cx="185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</a:rPr>
              <a:t>Fail to Fix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E0E70FD-5F74-4C5B-FD97-AD921CCC00DD}"/>
              </a:ext>
            </a:extLst>
          </p:cNvPr>
          <p:cNvSpPr txBox="1"/>
          <p:nvPr/>
        </p:nvSpPr>
        <p:spPr>
          <a:xfrm>
            <a:off x="10721561" y="3229381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  <a:highlight>
                  <a:srgbClr val="FFFF00"/>
                </a:highlight>
              </a:rPr>
              <a:t>20% of Day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D4CD9B4-EA06-54FF-AABC-E6A2E724360F}"/>
              </a:ext>
            </a:extLst>
          </p:cNvPr>
          <p:cNvSpPr txBox="1"/>
          <p:nvPr/>
        </p:nvSpPr>
        <p:spPr>
          <a:xfrm>
            <a:off x="4518559" y="3121926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  <a:highlight>
                  <a:srgbClr val="FFFF00"/>
                </a:highlight>
              </a:rPr>
              <a:t>15% of Da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A382B5A-BD64-48DB-AC2D-034E85AA70EE}"/>
              </a:ext>
            </a:extLst>
          </p:cNvPr>
          <p:cNvSpPr txBox="1"/>
          <p:nvPr/>
        </p:nvSpPr>
        <p:spPr>
          <a:xfrm>
            <a:off x="9162594" y="4194750"/>
            <a:ext cx="16554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C71F41"/>
                </a:solidFill>
              </a:rPr>
              <a:t>Collecting Unnecessary Information</a:t>
            </a:r>
          </a:p>
        </p:txBody>
      </p:sp>
      <p:pic>
        <p:nvPicPr>
          <p:cNvPr id="43" name="Graphic 42" descr="Research with solid fill">
            <a:extLst>
              <a:ext uri="{FF2B5EF4-FFF2-40B4-BE49-F238E27FC236}">
                <a16:creationId xmlns:a16="http://schemas.microsoft.com/office/drawing/2014/main" id="{3BB1D1DA-B0F0-BFA9-B0CA-AE4BB6476CB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326879" y="3301023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4002AE20-2D0A-3791-F839-53A5358BB570}"/>
              </a:ext>
            </a:extLst>
          </p:cNvPr>
          <p:cNvSpPr txBox="1"/>
          <p:nvPr/>
        </p:nvSpPr>
        <p:spPr>
          <a:xfrm>
            <a:off x="9162594" y="4950125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C71F41"/>
                </a:solidFill>
                <a:highlight>
                  <a:srgbClr val="FFFF00"/>
                </a:highlight>
              </a:rPr>
              <a:t>30% of Da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D8EDB82-EE1C-D631-A909-20FCDFEDCC2D}"/>
              </a:ext>
            </a:extLst>
          </p:cNvPr>
          <p:cNvSpPr txBox="1"/>
          <p:nvPr/>
        </p:nvSpPr>
        <p:spPr>
          <a:xfrm>
            <a:off x="6797724" y="956963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0B050"/>
                </a:solidFill>
              </a:rPr>
              <a:t>35% of Day</a:t>
            </a:r>
          </a:p>
        </p:txBody>
      </p:sp>
      <p:sp>
        <p:nvSpPr>
          <p:cNvPr id="4" name="Arrow: Up 3">
            <a:extLst>
              <a:ext uri="{FF2B5EF4-FFF2-40B4-BE49-F238E27FC236}">
                <a16:creationId xmlns:a16="http://schemas.microsoft.com/office/drawing/2014/main" id="{75EC896E-6936-6A49-26CA-5C8D54FDBB34}"/>
              </a:ext>
            </a:extLst>
          </p:cNvPr>
          <p:cNvSpPr/>
          <p:nvPr/>
        </p:nvSpPr>
        <p:spPr>
          <a:xfrm>
            <a:off x="8501681" y="999464"/>
            <a:ext cx="134035" cy="245916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6F65B6FC-84C2-E640-1128-FB3F2931742D}"/>
              </a:ext>
            </a:extLst>
          </p:cNvPr>
          <p:cNvSpPr/>
          <p:nvPr/>
        </p:nvSpPr>
        <p:spPr>
          <a:xfrm rot="10800000">
            <a:off x="5143063" y="3570220"/>
            <a:ext cx="161959" cy="326932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4D0424-0948-83A0-1D54-472603F10CDC}"/>
              </a:ext>
            </a:extLst>
          </p:cNvPr>
          <p:cNvSpPr txBox="1"/>
          <p:nvPr/>
        </p:nvSpPr>
        <p:spPr>
          <a:xfrm>
            <a:off x="5265734" y="3527820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0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4A9EB3-B5C6-4DDF-3669-19E7B3FD3C83}"/>
              </a:ext>
            </a:extLst>
          </p:cNvPr>
          <p:cNvSpPr txBox="1"/>
          <p:nvPr/>
        </p:nvSpPr>
        <p:spPr>
          <a:xfrm>
            <a:off x="11257672" y="3656752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5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F5DCBE-EC5C-91AC-8CD1-AC5CB692851E}"/>
              </a:ext>
            </a:extLst>
          </p:cNvPr>
          <p:cNvSpPr txBox="1"/>
          <p:nvPr/>
        </p:nvSpPr>
        <p:spPr>
          <a:xfrm>
            <a:off x="10735739" y="4080036"/>
            <a:ext cx="14562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20 minutes or less of data entr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152EC7-E8D4-D948-0285-CF97E002CC06}"/>
              </a:ext>
            </a:extLst>
          </p:cNvPr>
          <p:cNvSpPr txBox="1"/>
          <p:nvPr/>
        </p:nvSpPr>
        <p:spPr>
          <a:xfrm>
            <a:off x="8662193" y="946602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11E41"/>
                </a:solidFill>
              </a:rPr>
              <a:t>85%+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A4D6D49-DCCE-523C-3ADC-7AAE81209280}"/>
              </a:ext>
            </a:extLst>
          </p:cNvPr>
          <p:cNvSpPr txBox="1"/>
          <p:nvPr/>
        </p:nvSpPr>
        <p:spPr>
          <a:xfrm>
            <a:off x="9393587" y="5910631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&lt;10%</a:t>
            </a:r>
          </a:p>
        </p:txBody>
      </p:sp>
      <p:sp>
        <p:nvSpPr>
          <p:cNvPr id="32" name="Arrow: Up 31">
            <a:extLst>
              <a:ext uri="{FF2B5EF4-FFF2-40B4-BE49-F238E27FC236}">
                <a16:creationId xmlns:a16="http://schemas.microsoft.com/office/drawing/2014/main" id="{302DD5AB-79EF-A5CE-51C5-B9CD22562D83}"/>
              </a:ext>
            </a:extLst>
          </p:cNvPr>
          <p:cNvSpPr/>
          <p:nvPr/>
        </p:nvSpPr>
        <p:spPr>
          <a:xfrm rot="10800000">
            <a:off x="11116563" y="3675909"/>
            <a:ext cx="161959" cy="326932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00A5D6-2B86-40D8-9D16-13E356F55C72}"/>
              </a:ext>
            </a:extLst>
          </p:cNvPr>
          <p:cNvSpPr txBox="1"/>
          <p:nvPr/>
        </p:nvSpPr>
        <p:spPr>
          <a:xfrm>
            <a:off x="6333798" y="6416993"/>
            <a:ext cx="4448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7+ Productive Hours per day (8hr shift)</a:t>
            </a:r>
          </a:p>
        </p:txBody>
      </p:sp>
    </p:spTree>
    <p:extLst>
      <p:ext uri="{BB962C8B-B14F-4D97-AF65-F5344CB8AC3E}">
        <p14:creationId xmlns:p14="http://schemas.microsoft.com/office/powerpoint/2010/main" val="91164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5D4BD6-EC45-BA3F-599F-4A0E57C87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87845F-22E4-20DB-0C90-365275089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ols &amp; Capabiliti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84D39E7-B193-A690-936B-CA03D04BC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232" y="1399607"/>
            <a:ext cx="2690889" cy="138870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91C29AB-C669-3A12-75C9-BE90A2928B68}"/>
              </a:ext>
            </a:extLst>
          </p:cNvPr>
          <p:cNvSpPr txBox="1"/>
          <p:nvPr/>
        </p:nvSpPr>
        <p:spPr>
          <a:xfrm>
            <a:off x="2929221" y="1355296"/>
            <a:ext cx="23484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/>
              <a:t>MAVTRAX Dashboard</a:t>
            </a:r>
          </a:p>
          <a:p>
            <a:endParaRPr lang="en-US" sz="1000"/>
          </a:p>
          <a:p>
            <a:r>
              <a:rPr lang="en-US" sz="1000"/>
              <a:t>Developed to Validate Data Flow and showcase ESRI capabilities. </a:t>
            </a:r>
          </a:p>
          <a:p>
            <a:r>
              <a:rPr lang="en-US" sz="1000" b="1"/>
              <a:t>Best Use Case is Tracking Personnel during severe weather events</a:t>
            </a:r>
          </a:p>
          <a:p>
            <a:r>
              <a:rPr lang="en-US" sz="1000"/>
              <a:t>Access Granted by Rick &amp; Jerod Fields (Can see ALL personnel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FAD73E0-875A-19D2-C4A3-B6D51E6BBA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337" y="4621344"/>
            <a:ext cx="2690889" cy="1773405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B3CE3A0-1578-9350-8760-58DE3EDC24EE}"/>
              </a:ext>
            </a:extLst>
          </p:cNvPr>
          <p:cNvSpPr txBox="1"/>
          <p:nvPr/>
        </p:nvSpPr>
        <p:spPr>
          <a:xfrm>
            <a:off x="2929221" y="4550307"/>
            <a:ext cx="21638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err="1"/>
              <a:t>MavOPS</a:t>
            </a:r>
            <a:r>
              <a:rPr lang="en-US" sz="1000" b="1"/>
              <a:t> Power App </a:t>
            </a:r>
          </a:p>
          <a:p>
            <a:endParaRPr lang="en-US" sz="1000" b="1"/>
          </a:p>
          <a:p>
            <a:r>
              <a:rPr lang="en-US" sz="1000" b="1"/>
              <a:t> </a:t>
            </a:r>
            <a:r>
              <a:rPr lang="en-US" sz="1000"/>
              <a:t>User Interface for Field Personnel (currently focused on WAB Lease Operators). Presents information in an easy to digest way and facilitates communication between LOs, their management and the Ops Center.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69FF355-99A3-F153-6EEF-2C75D20074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337" y="3001123"/>
            <a:ext cx="2690889" cy="1344726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0DE7D82-B91A-059B-7317-779B29B22889}"/>
              </a:ext>
            </a:extLst>
          </p:cNvPr>
          <p:cNvSpPr txBox="1"/>
          <p:nvPr/>
        </p:nvSpPr>
        <p:spPr>
          <a:xfrm>
            <a:off x="2929221" y="2921168"/>
            <a:ext cx="22514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err="1"/>
              <a:t>MavOPS</a:t>
            </a:r>
            <a:r>
              <a:rPr lang="en-US" sz="1000" b="1"/>
              <a:t> </a:t>
            </a:r>
            <a:r>
              <a:rPr lang="en-US" sz="1000" b="1" err="1"/>
              <a:t>PowerBI</a:t>
            </a:r>
            <a:r>
              <a:rPr lang="en-US" sz="1000" b="1"/>
              <a:t> Dashboard</a:t>
            </a:r>
          </a:p>
          <a:p>
            <a:endParaRPr lang="en-US" sz="1000" b="1"/>
          </a:p>
          <a:p>
            <a:r>
              <a:rPr lang="en-US" sz="1000"/>
              <a:t>Set of Dashboards that allows analysts and management personnel to take a deep dive into the </a:t>
            </a:r>
            <a:r>
              <a:rPr lang="en-US" sz="1000" err="1"/>
              <a:t>MavOPS</a:t>
            </a:r>
            <a:r>
              <a:rPr lang="en-US" sz="1000"/>
              <a:t> data. </a:t>
            </a:r>
          </a:p>
        </p:txBody>
      </p:sp>
      <p:pic>
        <p:nvPicPr>
          <p:cNvPr id="22" name="Picture 21" descr="A diagram of a process&#10;&#10;Description automatically generated">
            <a:extLst>
              <a:ext uri="{FF2B5EF4-FFF2-40B4-BE49-F238E27FC236}">
                <a16:creationId xmlns:a16="http://schemas.microsoft.com/office/drawing/2014/main" id="{6A5E1F63-252D-E627-9FF9-1787F8FFB65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" t="21083" r="922"/>
          <a:stretch/>
        </p:blipFill>
        <p:spPr>
          <a:xfrm>
            <a:off x="5315813" y="2114550"/>
            <a:ext cx="6799710" cy="4313822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91B24EB-E748-EAD9-2CFB-8294021B4A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5575" y="1003202"/>
            <a:ext cx="6192105" cy="246718"/>
          </a:xfrm>
        </p:spPr>
        <p:txBody>
          <a:bodyPr/>
          <a:lstStyle/>
          <a:p>
            <a:r>
              <a:rPr lang="en-US"/>
              <a:t>Empowering Efficiency: Technical Architecture</a:t>
            </a:r>
          </a:p>
          <a:p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535F66C-EB88-182E-2A6D-AB11F097CBCA}"/>
              </a:ext>
            </a:extLst>
          </p:cNvPr>
          <p:cNvSpPr txBox="1">
            <a:spLocks/>
          </p:cNvSpPr>
          <p:nvPr/>
        </p:nvSpPr>
        <p:spPr>
          <a:xfrm>
            <a:off x="5725575" y="1261896"/>
            <a:ext cx="6192106" cy="6574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436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724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Tx/>
              <a:defRPr/>
            </a:pPr>
            <a:r>
              <a:rPr lang="en-US" sz="1000" b="0">
                <a:solidFill>
                  <a:prstClr val="black"/>
                </a:solidFill>
                <a:latin typeface="Arial"/>
                <a:ea typeface="ＭＳ Ｐゴシック"/>
                <a:cs typeface="Arial"/>
              </a:rPr>
              <a:t>Consolidated ERP datasets result in improved feedback and reduced data silos.  The increased production is realized by responding to real-time data analytics of a comprehensive data driven digital-twin. Our cutting-edge prioritization algorithm dynamically adapts to changing conditions, ensuring resources are optimally allocated, while automation capabilities streamline workflows, reducing manual intervention and enhancing operational agility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37CFE15-4449-C9FA-9EA9-06EAB24502BC}"/>
              </a:ext>
            </a:extLst>
          </p:cNvPr>
          <p:cNvSpPr txBox="1">
            <a:spLocks/>
          </p:cNvSpPr>
          <p:nvPr/>
        </p:nvSpPr>
        <p:spPr>
          <a:xfrm>
            <a:off x="5321491" y="6442155"/>
            <a:ext cx="6596189" cy="2467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436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724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i="1">
                <a:solidFill>
                  <a:srgbClr val="C00000"/>
                </a:solidFill>
              </a:rPr>
              <a:t>The win is realized by improving data delivery speed; enabling qualified operators to do meaningful work quickly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42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69586CC-260A-48B2-92C1-15A8AC121E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5125" y="1397424"/>
            <a:ext cx="5486400" cy="3045332"/>
          </a:xfrm>
        </p:spPr>
        <p:txBody>
          <a:bodyPr/>
          <a:lstStyle/>
          <a:p>
            <a:r>
              <a:rPr lang="en-US" dirty="0"/>
              <a:t>📉 </a:t>
            </a:r>
            <a:r>
              <a:rPr lang="en-US" b="1" u="sng" dirty="0"/>
              <a:t>Below Forecast</a:t>
            </a:r>
          </a:p>
          <a:p>
            <a:pPr lvl="1"/>
            <a:r>
              <a:rPr lang="en-US" b="1" i="1" u="sng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i="1" dirty="0"/>
              <a:t> to </a:t>
            </a:r>
            <a:r>
              <a:rPr lang="en-US" b="1" i="1" u="sng" dirty="0">
                <a:solidFill>
                  <a:srgbClr val="FF0000"/>
                </a:solidFill>
              </a:rPr>
              <a:t>Critical</a:t>
            </a:r>
            <a:r>
              <a:rPr lang="en-US" i="1" dirty="0"/>
              <a:t> - based on Revenue/day Variance to Aries Live</a:t>
            </a:r>
          </a:p>
          <a:p>
            <a:pPr lvl="3"/>
            <a:r>
              <a:rPr lang="en-US" i="1" dirty="0"/>
              <a:t>$50 - $100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i="1" dirty="0"/>
              <a:t>)  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$100 - $200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Low</a:t>
            </a:r>
            <a:r>
              <a:rPr lang="en-US" i="1" dirty="0"/>
              <a:t>)  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$200 - $300 (</a:t>
            </a:r>
            <a:r>
              <a:rPr lang="en-US" i="1" dirty="0">
                <a:solidFill>
                  <a:srgbClr val="FFC000"/>
                </a:solidFill>
              </a:rPr>
              <a:t>Medium</a:t>
            </a:r>
            <a:r>
              <a:rPr lang="en-US" i="1" dirty="0"/>
              <a:t>)</a:t>
            </a:r>
          </a:p>
          <a:p>
            <a:pPr lvl="3"/>
            <a:r>
              <a:rPr lang="en-US" i="1" dirty="0"/>
              <a:t>$300 - $750 (</a:t>
            </a:r>
            <a:r>
              <a:rPr lang="en-US" i="1" dirty="0">
                <a:solidFill>
                  <a:srgbClr val="F2850E"/>
                </a:solidFill>
              </a:rPr>
              <a:t>High</a:t>
            </a:r>
            <a:r>
              <a:rPr lang="en-US" i="1" dirty="0"/>
              <a:t>)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&gt; $750 (</a:t>
            </a:r>
            <a:r>
              <a:rPr lang="en-US" i="1" dirty="0">
                <a:solidFill>
                  <a:srgbClr val="FF0000"/>
                </a:solidFill>
              </a:rPr>
              <a:t>Critical</a:t>
            </a:r>
            <a:r>
              <a:rPr lang="en-US" i="1" dirty="0"/>
              <a:t>) </a:t>
            </a:r>
          </a:p>
          <a:p>
            <a:pPr marL="457200" lvl="3" indent="0">
              <a:buNone/>
            </a:pPr>
            <a:endParaRPr lang="en-US" i="1" dirty="0"/>
          </a:p>
          <a:p>
            <a:r>
              <a:rPr lang="en-US" dirty="0"/>
              <a:t>🛠️ </a:t>
            </a:r>
            <a:r>
              <a:rPr lang="en-US" b="1" u="sng" dirty="0"/>
              <a:t>Downtime (Lost Production)</a:t>
            </a:r>
          </a:p>
          <a:p>
            <a:pPr lvl="1"/>
            <a:r>
              <a:rPr lang="en-US" b="1" i="1" u="sng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i="1" dirty="0"/>
              <a:t> to </a:t>
            </a:r>
            <a:r>
              <a:rPr lang="en-US" b="1" i="1" u="sng" dirty="0">
                <a:solidFill>
                  <a:srgbClr val="FF0000"/>
                </a:solidFill>
              </a:rPr>
              <a:t>Critical</a:t>
            </a:r>
            <a:r>
              <a:rPr lang="en-US" i="1" dirty="0"/>
              <a:t> - based on Revenue/day Variance to Aries Live</a:t>
            </a:r>
          </a:p>
          <a:p>
            <a:pPr lvl="3"/>
            <a:r>
              <a:rPr lang="en-US" i="1" dirty="0"/>
              <a:t>$50 - $100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i="1" dirty="0"/>
              <a:t>)  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$100 - $200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Low</a:t>
            </a:r>
            <a:r>
              <a:rPr lang="en-US" i="1" dirty="0"/>
              <a:t>)  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$200 - $300 (</a:t>
            </a:r>
            <a:r>
              <a:rPr lang="en-US" i="1" dirty="0">
                <a:solidFill>
                  <a:srgbClr val="FFC000"/>
                </a:solidFill>
              </a:rPr>
              <a:t>Medium</a:t>
            </a:r>
            <a:r>
              <a:rPr lang="en-US" i="1" dirty="0"/>
              <a:t>)</a:t>
            </a:r>
          </a:p>
          <a:p>
            <a:pPr lvl="3"/>
            <a:r>
              <a:rPr lang="en-US" i="1" dirty="0"/>
              <a:t>$300 - $750 (</a:t>
            </a:r>
            <a:r>
              <a:rPr lang="en-US" i="1" dirty="0">
                <a:solidFill>
                  <a:srgbClr val="F2850E"/>
                </a:solidFill>
              </a:rPr>
              <a:t>High</a:t>
            </a:r>
            <a:r>
              <a:rPr lang="en-US" i="1" dirty="0"/>
              <a:t>)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&gt; $750 (</a:t>
            </a:r>
            <a:r>
              <a:rPr lang="en-US" i="1" dirty="0">
                <a:solidFill>
                  <a:srgbClr val="FF0000"/>
                </a:solidFill>
              </a:rPr>
              <a:t>Critical</a:t>
            </a:r>
            <a:r>
              <a:rPr lang="en-US" i="1" dirty="0"/>
              <a:t>) </a:t>
            </a:r>
          </a:p>
          <a:p>
            <a:pPr marL="320040" lvl="2" indent="0">
              <a:buNone/>
            </a:pPr>
            <a:endParaRPr lang="en-US" dirty="0"/>
          </a:p>
          <a:p>
            <a:r>
              <a:rPr lang="en-US" dirty="0"/>
              <a:t>🚨 </a:t>
            </a:r>
            <a:r>
              <a:rPr lang="en-US" b="1" u="sng" dirty="0"/>
              <a:t>MCFD SCADA Variance to Yesterday</a:t>
            </a:r>
          </a:p>
          <a:p>
            <a:pPr lvl="1"/>
            <a:r>
              <a:rPr lang="en-US" b="1" i="1" u="sng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i="1" dirty="0"/>
              <a:t> to </a:t>
            </a:r>
            <a:r>
              <a:rPr lang="en-US" b="1" i="1" u="sng" dirty="0">
                <a:solidFill>
                  <a:srgbClr val="FF0000"/>
                </a:solidFill>
              </a:rPr>
              <a:t>Critical</a:t>
            </a:r>
            <a:r>
              <a:rPr lang="en-US" i="1" dirty="0"/>
              <a:t> - based on SCADA Gas Revenue/day Variance to Yest.</a:t>
            </a:r>
          </a:p>
          <a:p>
            <a:pPr lvl="1"/>
            <a:r>
              <a:rPr lang="en-US" i="1" dirty="0"/>
              <a:t>Must be greater than $50 in revenue variance and over 50% diff in MCFD</a:t>
            </a:r>
          </a:p>
          <a:p>
            <a:pPr lvl="3"/>
            <a:r>
              <a:rPr lang="en-US" i="1" dirty="0"/>
              <a:t>$50 - $100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i="1" dirty="0"/>
              <a:t>)  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$100 - $200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Low</a:t>
            </a:r>
            <a:r>
              <a:rPr lang="en-US" i="1" dirty="0"/>
              <a:t>)  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$200 - $300 (</a:t>
            </a:r>
            <a:r>
              <a:rPr lang="en-US" i="1" dirty="0">
                <a:solidFill>
                  <a:srgbClr val="FFC000"/>
                </a:solidFill>
              </a:rPr>
              <a:t>Medium</a:t>
            </a:r>
            <a:r>
              <a:rPr lang="en-US" i="1" dirty="0"/>
              <a:t>)</a:t>
            </a:r>
          </a:p>
          <a:p>
            <a:pPr lvl="3"/>
            <a:r>
              <a:rPr lang="en-US" i="1" dirty="0"/>
              <a:t>$300 - $750 (</a:t>
            </a:r>
            <a:r>
              <a:rPr lang="en-US" i="1" dirty="0">
                <a:solidFill>
                  <a:srgbClr val="F2850E"/>
                </a:solidFill>
              </a:rPr>
              <a:t>High</a:t>
            </a:r>
            <a:r>
              <a:rPr lang="en-US" i="1" dirty="0"/>
              <a:t>)    </a:t>
            </a:r>
            <a:r>
              <a:rPr lang="en-US" sz="10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i="1" dirty="0"/>
              <a:t> &gt; $750 (</a:t>
            </a:r>
            <a:r>
              <a:rPr lang="en-US" i="1" dirty="0">
                <a:solidFill>
                  <a:srgbClr val="FF0000"/>
                </a:solidFill>
              </a:rPr>
              <a:t>Critical</a:t>
            </a:r>
            <a:r>
              <a:rPr lang="en-US" i="1" dirty="0"/>
              <a:t>) </a:t>
            </a:r>
          </a:p>
          <a:p>
            <a:pPr marL="320040" lvl="2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B275A13-073E-4753-A657-2205C7B899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5125" y="1008539"/>
            <a:ext cx="5486400" cy="365760"/>
          </a:xfrm>
        </p:spPr>
        <p:txBody>
          <a:bodyPr/>
          <a:lstStyle/>
          <a:p>
            <a:r>
              <a:rPr lang="en-US" dirty="0"/>
              <a:t>Cash Flow – Layer 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BEAE73-97D8-4456-B8CD-338AB74E4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13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9CFA4D-BF78-4118-A328-373271363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59" y="169127"/>
            <a:ext cx="3940023" cy="678823"/>
          </a:xfrm>
        </p:spPr>
        <p:txBody>
          <a:bodyPr/>
          <a:lstStyle/>
          <a:p>
            <a:r>
              <a:rPr lang="en-US" dirty="0"/>
              <a:t>Pump by Priority Flag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D9ACA01-E0C3-4A68-A4C7-ED43BCF92B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51944" y="1008539"/>
            <a:ext cx="5582856" cy="365760"/>
          </a:xfrm>
        </p:spPr>
        <p:txBody>
          <a:bodyPr/>
          <a:lstStyle/>
          <a:p>
            <a:r>
              <a:rPr lang="en-US" dirty="0"/>
              <a:t>Risk &amp; Visit – Layer 2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08473AD-C12A-419A-98EE-61C05AD3EBF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51944" y="1397424"/>
            <a:ext cx="6040056" cy="5460576"/>
          </a:xfrm>
        </p:spPr>
        <p:txBody>
          <a:bodyPr/>
          <a:lstStyle/>
          <a:p>
            <a:r>
              <a:rPr lang="en-US" sz="1050" dirty="0"/>
              <a:t>🚚 </a:t>
            </a:r>
            <a:r>
              <a:rPr lang="en-US" sz="1050" b="1" u="sng" dirty="0"/>
              <a:t>Oil or Water Run Ready</a:t>
            </a:r>
          </a:p>
          <a:p>
            <a:pPr lvl="1"/>
            <a:r>
              <a:rPr lang="en-US" b="1" i="1" u="sng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 to </a:t>
            </a:r>
            <a:r>
              <a:rPr lang="en-US" b="1" i="1" u="sng" dirty="0">
                <a:solidFill>
                  <a:srgbClr val="F2850E"/>
                </a:solidFill>
              </a:rPr>
              <a:t>High</a:t>
            </a:r>
            <a:r>
              <a:rPr lang="en-US" sz="1050" i="1" dirty="0"/>
              <a:t> </a:t>
            </a:r>
          </a:p>
          <a:p>
            <a:pPr lvl="2"/>
            <a:r>
              <a:rPr lang="en-US" sz="1050" i="1" dirty="0"/>
              <a:t>Escalates to </a:t>
            </a:r>
            <a:r>
              <a:rPr lang="en-US" i="1" dirty="0">
                <a:solidFill>
                  <a:srgbClr val="F2850E"/>
                </a:solidFill>
              </a:rPr>
              <a:t>High</a:t>
            </a:r>
            <a:r>
              <a:rPr lang="en-US" sz="1050" i="1" dirty="0"/>
              <a:t> when:</a:t>
            </a:r>
          </a:p>
          <a:p>
            <a:pPr lvl="3"/>
            <a:r>
              <a:rPr lang="en-US" sz="1050" i="1" dirty="0"/>
              <a:t>Avg Runs per day over last 180  days &gt;= 0.5</a:t>
            </a:r>
          </a:p>
          <a:p>
            <a:r>
              <a:rPr lang="en-US" sz="1050" dirty="0"/>
              <a:t>🚚 </a:t>
            </a:r>
            <a:r>
              <a:rPr lang="en-US" sz="1050" b="1" u="sng" dirty="0"/>
              <a:t>Oil or Water Run Ready this Weekend</a:t>
            </a:r>
          </a:p>
          <a:p>
            <a:pPr lvl="1"/>
            <a:r>
              <a:rPr lang="en-US" b="1" i="1" u="sng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 to </a:t>
            </a:r>
            <a:r>
              <a:rPr lang="en-US" b="1" i="1" u="sng" dirty="0">
                <a:solidFill>
                  <a:srgbClr val="F2850E"/>
                </a:solidFill>
              </a:rPr>
              <a:t>High</a:t>
            </a:r>
            <a:r>
              <a:rPr lang="en-US" sz="1050" i="1" dirty="0"/>
              <a:t> </a:t>
            </a:r>
          </a:p>
          <a:p>
            <a:pPr lvl="2"/>
            <a:r>
              <a:rPr lang="en-US" sz="1050" i="1" dirty="0">
                <a:solidFill>
                  <a:srgbClr val="FFC000"/>
                </a:solidFill>
              </a:rPr>
              <a:t>Medium </a:t>
            </a:r>
            <a:r>
              <a:rPr lang="en-US" sz="1050" i="1" dirty="0"/>
              <a:t>on Thursday</a:t>
            </a:r>
          </a:p>
          <a:p>
            <a:pPr lvl="2"/>
            <a:r>
              <a:rPr lang="en-US" i="1" dirty="0">
                <a:solidFill>
                  <a:srgbClr val="F2850E"/>
                </a:solidFill>
              </a:rPr>
              <a:t>High</a:t>
            </a:r>
            <a:r>
              <a:rPr lang="en-US" sz="1050" i="1" dirty="0"/>
              <a:t> on Friday </a:t>
            </a:r>
          </a:p>
          <a:p>
            <a:r>
              <a:rPr lang="en-US" sz="1050" dirty="0"/>
              <a:t>⚠️ </a:t>
            </a:r>
            <a:r>
              <a:rPr lang="en-US" sz="1050" b="1" u="sng" dirty="0"/>
              <a:t>Tank Over 90% Full</a:t>
            </a:r>
          </a:p>
          <a:p>
            <a:pPr lvl="1"/>
            <a:r>
              <a:rPr lang="en-US" b="1" i="1" u="sng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 </a:t>
            </a:r>
          </a:p>
          <a:p>
            <a:pPr>
              <a:spcBef>
                <a:spcPts val="1200"/>
              </a:spcBef>
            </a:pPr>
            <a:r>
              <a:rPr lang="en-US" sz="1050" dirty="0"/>
              <a:t>👷 </a:t>
            </a:r>
            <a:r>
              <a:rPr lang="en-US" sz="1050" b="1" u="sng" dirty="0"/>
              <a:t>Gauge Ready</a:t>
            </a:r>
          </a:p>
          <a:p>
            <a:pPr lvl="1"/>
            <a:r>
              <a:rPr lang="en-US" b="1" i="1" u="sng" dirty="0">
                <a:solidFill>
                  <a:schemeClr val="accent6">
                    <a:lumMod val="75000"/>
                  </a:schemeClr>
                </a:solidFill>
              </a:rPr>
              <a:t>Low</a:t>
            </a:r>
            <a:r>
              <a:rPr lang="en-US" sz="1050" i="1" dirty="0"/>
              <a:t> to </a:t>
            </a:r>
            <a:r>
              <a:rPr lang="en-US" b="1" i="1" u="sng" dirty="0">
                <a:solidFill>
                  <a:srgbClr val="FFC000"/>
                </a:solidFill>
              </a:rPr>
              <a:t>Medium</a:t>
            </a:r>
            <a:r>
              <a:rPr lang="en-US" sz="1050" i="1" dirty="0">
                <a:solidFill>
                  <a:srgbClr val="FFC000"/>
                </a:solidFill>
              </a:rPr>
              <a:t> </a:t>
            </a:r>
            <a:r>
              <a:rPr lang="en-US" sz="1050" i="1" dirty="0"/>
              <a:t>- based on days since 50% or 75% of load ready</a:t>
            </a:r>
          </a:p>
          <a:p>
            <a:pPr lvl="3"/>
            <a:r>
              <a:rPr lang="en-US" sz="1050" i="1" dirty="0"/>
              <a:t>0 days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Low</a:t>
            </a:r>
            <a:r>
              <a:rPr lang="en-US" sz="1050" i="1" dirty="0"/>
              <a:t>)    </a:t>
            </a:r>
            <a:r>
              <a:rPr lang="en-US" sz="105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sz="1050" i="1" dirty="0"/>
              <a:t> 1 or more days overdue (</a:t>
            </a:r>
            <a:r>
              <a:rPr lang="en-US" i="1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)</a:t>
            </a:r>
          </a:p>
          <a:p>
            <a:r>
              <a:rPr lang="en-US" sz="1050" dirty="0"/>
              <a:t>📅 </a:t>
            </a:r>
            <a:r>
              <a:rPr lang="en-US" sz="1050" b="1" u="sng" dirty="0"/>
              <a:t>Gauge Ready on Weekend</a:t>
            </a:r>
          </a:p>
          <a:p>
            <a:pPr lvl="1"/>
            <a:r>
              <a:rPr lang="en-US" b="1" i="1" u="sng" dirty="0">
                <a:solidFill>
                  <a:schemeClr val="accent6">
                    <a:lumMod val="75000"/>
                  </a:schemeClr>
                </a:solidFill>
              </a:rPr>
              <a:t>Low</a:t>
            </a:r>
            <a:r>
              <a:rPr lang="en-US" i="1" dirty="0"/>
              <a:t>: Thursday (50% Gauge)</a:t>
            </a:r>
          </a:p>
          <a:p>
            <a:pPr lvl="1"/>
            <a:r>
              <a:rPr lang="en-US" b="1" i="1" u="sng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: Thursday (75% Gauge) or Friday (50% Gauge)</a:t>
            </a:r>
          </a:p>
          <a:p>
            <a:pPr lvl="1"/>
            <a:r>
              <a:rPr lang="en-US" sz="1050" b="1" i="1" u="sng" dirty="0">
                <a:solidFill>
                  <a:srgbClr val="F2850E"/>
                </a:solidFill>
              </a:rPr>
              <a:t>High</a:t>
            </a:r>
            <a:r>
              <a:rPr lang="en-US" sz="1050" i="1" dirty="0"/>
              <a:t>: Friday (75% Gauge)</a:t>
            </a:r>
          </a:p>
          <a:p>
            <a:r>
              <a:rPr lang="en-US" sz="1050" dirty="0"/>
              <a:t>👓 </a:t>
            </a:r>
            <a:r>
              <a:rPr lang="en-US" sz="1050" b="1" u="sng" dirty="0"/>
              <a:t>Recent Workover, Visual Inspection Needed</a:t>
            </a:r>
          </a:p>
          <a:p>
            <a:pPr lvl="1"/>
            <a:r>
              <a:rPr lang="en-US" b="1" i="1" u="sng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 (first 3 days post workover)</a:t>
            </a:r>
          </a:p>
          <a:p>
            <a:r>
              <a:rPr lang="en-US" sz="1050" dirty="0"/>
              <a:t>⚙️ </a:t>
            </a:r>
            <a:r>
              <a:rPr lang="en-US" sz="1050" b="1" u="sng" dirty="0"/>
              <a:t>Repeat Failure Well</a:t>
            </a:r>
          </a:p>
          <a:p>
            <a:pPr lvl="1"/>
            <a:r>
              <a:rPr lang="en-US" b="1" i="1" u="sng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sz="1050" i="1" dirty="0"/>
              <a:t> to </a:t>
            </a:r>
            <a:r>
              <a:rPr lang="en-US" b="1" i="1" u="sng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 based on days since last visit</a:t>
            </a:r>
          </a:p>
          <a:p>
            <a:pPr lvl="3"/>
            <a:r>
              <a:rPr lang="en-US" sz="1050" i="1" dirty="0"/>
              <a:t>0-6 days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sz="1050" i="1" dirty="0"/>
              <a:t>)     </a:t>
            </a:r>
            <a:r>
              <a:rPr lang="en-US" sz="9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sz="1050" i="1" dirty="0"/>
              <a:t> 7-13 days (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</a:rPr>
              <a:t>Low</a:t>
            </a:r>
            <a:r>
              <a:rPr lang="en-US" sz="1050" i="1" dirty="0"/>
              <a:t>)     </a:t>
            </a:r>
            <a:r>
              <a:rPr lang="en-US" sz="900" i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ꟷ</a:t>
            </a:r>
            <a:r>
              <a:rPr lang="en-US" sz="1050" i="1" dirty="0"/>
              <a:t> &gt;=14 day (</a:t>
            </a:r>
            <a:r>
              <a:rPr lang="en-US" i="1" dirty="0">
                <a:solidFill>
                  <a:srgbClr val="FFC000"/>
                </a:solidFill>
              </a:rPr>
              <a:t>Medium</a:t>
            </a:r>
            <a:r>
              <a:rPr lang="en-US" sz="1050" i="1" dirty="0"/>
              <a:t>)</a:t>
            </a:r>
          </a:p>
          <a:p>
            <a:r>
              <a:rPr lang="en-US" sz="1050" dirty="0"/>
              <a:t>👷👓 </a:t>
            </a:r>
            <a:r>
              <a:rPr lang="en-US" sz="1050" b="1" u="sng" dirty="0"/>
              <a:t>Risk Based Visit Required</a:t>
            </a:r>
          </a:p>
          <a:p>
            <a:pPr lvl="1"/>
            <a:r>
              <a:rPr lang="en-US" b="1" i="1" u="sng" dirty="0">
                <a:solidFill>
                  <a:schemeClr val="accent6">
                    <a:lumMod val="75000"/>
                  </a:schemeClr>
                </a:solidFill>
              </a:rPr>
              <a:t>Routine</a:t>
            </a:r>
            <a:r>
              <a:rPr lang="en-US" sz="1050" i="1" dirty="0"/>
              <a:t> to </a:t>
            </a:r>
            <a:r>
              <a:rPr lang="en-US" b="1" i="1" u="sng" dirty="0">
                <a:solidFill>
                  <a:srgbClr val="F2850E"/>
                </a:solidFill>
              </a:rPr>
              <a:t>High</a:t>
            </a:r>
            <a:r>
              <a:rPr lang="en-US" sz="1050" i="1" dirty="0"/>
              <a:t> - based on days since last visit &amp; Risk Matrix</a:t>
            </a:r>
          </a:p>
          <a:p>
            <a:endParaRPr lang="en-US" sz="1050" dirty="0"/>
          </a:p>
          <a:p>
            <a:pPr>
              <a:spcBef>
                <a:spcPts val="300"/>
              </a:spcBef>
            </a:pPr>
            <a:endParaRPr lang="en-US" sz="1050" dirty="0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977AA6F0-3DD9-900D-B9E7-50B5769C3DBF}"/>
              </a:ext>
            </a:extLst>
          </p:cNvPr>
          <p:cNvSpPr txBox="1">
            <a:spLocks/>
          </p:cNvSpPr>
          <p:nvPr/>
        </p:nvSpPr>
        <p:spPr>
          <a:xfrm>
            <a:off x="365125" y="4442756"/>
            <a:ext cx="5486400" cy="365760"/>
          </a:xfrm>
          <a:prstGeom prst="rect">
            <a:avLst/>
          </a:prstGeo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2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YI Flags – No Scoring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A31F5FD1-4169-824C-60E1-C2646AFC3708}"/>
              </a:ext>
            </a:extLst>
          </p:cNvPr>
          <p:cNvSpPr txBox="1">
            <a:spLocks/>
          </p:cNvSpPr>
          <p:nvPr/>
        </p:nvSpPr>
        <p:spPr>
          <a:xfrm>
            <a:off x="365124" y="4885683"/>
            <a:ext cx="5442665" cy="19723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0040" indent="-13716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3716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3716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📌 Primary Priority Score Flag/s</a:t>
            </a:r>
          </a:p>
          <a:p>
            <a:r>
              <a:rPr lang="en-US" dirty="0"/>
              <a:t>🛠️ Subsurface/Downhole Failure</a:t>
            </a:r>
          </a:p>
          <a:p>
            <a:r>
              <a:rPr lang="en-US" dirty="0"/>
              <a:t>🐿️ Invalid Downtime Code (From SCADA)</a:t>
            </a:r>
          </a:p>
          <a:p>
            <a:r>
              <a:rPr lang="en-US" dirty="0"/>
              <a:t>🧭 Tubing Pressure Variance Exceeds 75% and is &gt;= +/- 25 psi</a:t>
            </a:r>
          </a:p>
          <a:p>
            <a:r>
              <a:rPr lang="en-US" dirty="0"/>
              <a:t>🧭 Casing Pressure Variance Exceeds 75% and is &gt;= +/- 25 psi</a:t>
            </a:r>
          </a:p>
          <a:p>
            <a:r>
              <a:rPr lang="en-US" dirty="0"/>
              <a:t>🧭 Flowline Pressure Variance Exceeds 75%</a:t>
            </a:r>
          </a:p>
          <a:p>
            <a:r>
              <a:rPr lang="en-US" dirty="0"/>
              <a:t>📋 Missing Disposition </a:t>
            </a:r>
          </a:p>
          <a:p>
            <a:r>
              <a:rPr lang="en-US" dirty="0"/>
              <a:t>📈 Above Forecast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93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90EF323-EB84-4AE2-9534-47FC1F01A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 Matrix Visit Day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7A943A-08DF-4D24-9E2D-30D3CEBBEC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37AB960-A963-B37B-38AD-01530B798DF2}"/>
              </a:ext>
            </a:extLst>
          </p:cNvPr>
          <p:cNvGraphicFramePr>
            <a:graphicFrameLocks noGrp="1"/>
          </p:cNvGraphicFramePr>
          <p:nvPr/>
        </p:nvGraphicFramePr>
        <p:xfrm>
          <a:off x="365125" y="1410448"/>
          <a:ext cx="5085416" cy="259588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710640">
                  <a:extLst>
                    <a:ext uri="{9D8B030D-6E8A-4147-A177-3AD203B41FA5}">
                      <a16:colId xmlns:a16="http://schemas.microsoft.com/office/drawing/2014/main" val="648847473"/>
                    </a:ext>
                  </a:extLst>
                </a:gridCol>
                <a:gridCol w="1837387">
                  <a:extLst>
                    <a:ext uri="{9D8B030D-6E8A-4147-A177-3AD203B41FA5}">
                      <a16:colId xmlns:a16="http://schemas.microsoft.com/office/drawing/2014/main" val="443162201"/>
                    </a:ext>
                  </a:extLst>
                </a:gridCol>
                <a:gridCol w="2537389">
                  <a:extLst>
                    <a:ext uri="{9D8B030D-6E8A-4147-A177-3AD203B41FA5}">
                      <a16:colId xmlns:a16="http://schemas.microsoft.com/office/drawing/2014/main" val="29588639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luid Rate (BFP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Gas Rate (MCF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1748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gt;=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gt;=5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780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5-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000-5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8088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5-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00-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502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-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50-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6783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-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0-2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6729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lt;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lt;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8799974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FCB7ED6D-959A-C353-9488-4D5015F23DE8}"/>
              </a:ext>
            </a:extLst>
          </p:cNvPr>
          <p:cNvGraphicFramePr>
            <a:graphicFrameLocks noGrp="1"/>
          </p:cNvGraphicFramePr>
          <p:nvPr/>
        </p:nvGraphicFramePr>
        <p:xfrm>
          <a:off x="373809" y="4359836"/>
          <a:ext cx="5068047" cy="200152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738094">
                  <a:extLst>
                    <a:ext uri="{9D8B030D-6E8A-4147-A177-3AD203B41FA5}">
                      <a16:colId xmlns:a16="http://schemas.microsoft.com/office/drawing/2014/main" val="648847473"/>
                    </a:ext>
                  </a:extLst>
                </a:gridCol>
                <a:gridCol w="1801906">
                  <a:extLst>
                    <a:ext uri="{9D8B030D-6E8A-4147-A177-3AD203B41FA5}">
                      <a16:colId xmlns:a16="http://schemas.microsoft.com/office/drawing/2014/main" val="443162201"/>
                    </a:ext>
                  </a:extLst>
                </a:gridCol>
                <a:gridCol w="2528047">
                  <a:extLst>
                    <a:ext uri="{9D8B030D-6E8A-4147-A177-3AD203B41FA5}">
                      <a16:colId xmlns:a16="http://schemas.microsoft.com/office/drawing/2014/main" val="29588639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istance from Population (f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istance from Water (f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1748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lt;=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lt;=3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780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900-2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00-7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8088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400-4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50-1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502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gt;4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gt;1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678399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2A4D320-9978-B9F1-F136-D20C68658E8B}"/>
              </a:ext>
            </a:extLst>
          </p:cNvPr>
          <p:cNvGraphicFramePr>
            <a:graphicFrameLocks noGrp="1"/>
          </p:cNvGraphicFramePr>
          <p:nvPr/>
        </p:nvGraphicFramePr>
        <p:xfrm>
          <a:off x="6256808" y="2086935"/>
          <a:ext cx="4826000" cy="25704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03250">
                  <a:extLst>
                    <a:ext uri="{9D8B030D-6E8A-4147-A177-3AD203B41FA5}">
                      <a16:colId xmlns:a16="http://schemas.microsoft.com/office/drawing/2014/main" val="3024921706"/>
                    </a:ext>
                  </a:extLst>
                </a:gridCol>
                <a:gridCol w="603250">
                  <a:extLst>
                    <a:ext uri="{9D8B030D-6E8A-4147-A177-3AD203B41FA5}">
                      <a16:colId xmlns:a16="http://schemas.microsoft.com/office/drawing/2014/main" val="1972917156"/>
                    </a:ext>
                  </a:extLst>
                </a:gridCol>
                <a:gridCol w="603250">
                  <a:extLst>
                    <a:ext uri="{9D8B030D-6E8A-4147-A177-3AD203B41FA5}">
                      <a16:colId xmlns:a16="http://schemas.microsoft.com/office/drawing/2014/main" val="902760966"/>
                    </a:ext>
                  </a:extLst>
                </a:gridCol>
                <a:gridCol w="603250">
                  <a:extLst>
                    <a:ext uri="{9D8B030D-6E8A-4147-A177-3AD203B41FA5}">
                      <a16:colId xmlns:a16="http://schemas.microsoft.com/office/drawing/2014/main" val="457350666"/>
                    </a:ext>
                  </a:extLst>
                </a:gridCol>
                <a:gridCol w="603250">
                  <a:extLst>
                    <a:ext uri="{9D8B030D-6E8A-4147-A177-3AD203B41FA5}">
                      <a16:colId xmlns:a16="http://schemas.microsoft.com/office/drawing/2014/main" val="107846061"/>
                    </a:ext>
                  </a:extLst>
                </a:gridCol>
                <a:gridCol w="603250">
                  <a:extLst>
                    <a:ext uri="{9D8B030D-6E8A-4147-A177-3AD203B41FA5}">
                      <a16:colId xmlns:a16="http://schemas.microsoft.com/office/drawing/2014/main" val="1105519141"/>
                    </a:ext>
                  </a:extLst>
                </a:gridCol>
                <a:gridCol w="603250">
                  <a:extLst>
                    <a:ext uri="{9D8B030D-6E8A-4147-A177-3AD203B41FA5}">
                      <a16:colId xmlns:a16="http://schemas.microsoft.com/office/drawing/2014/main" val="3863469081"/>
                    </a:ext>
                  </a:extLst>
                </a:gridCol>
                <a:gridCol w="603250">
                  <a:extLst>
                    <a:ext uri="{9D8B030D-6E8A-4147-A177-3AD203B41FA5}">
                      <a16:colId xmlns:a16="http://schemas.microsoft.com/office/drawing/2014/main" val="756927294"/>
                    </a:ext>
                  </a:extLst>
                </a:gridCol>
              </a:tblGrid>
              <a:tr h="370840">
                <a:tc rowSpan="2"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roduction Risk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363471"/>
                  </a:ext>
                </a:extLst>
              </a:tr>
              <a:tr h="370840">
                <a:tc gridSpan="2" v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31379005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pPr algn="ctr"/>
                      <a:r>
                        <a:rPr lang="en-US" dirty="0"/>
                        <a:t>Distance Risk</a:t>
                      </a:r>
                    </a:p>
                  </a:txBody>
                  <a:tcPr vert="vert27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 days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 day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 day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 day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94301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highlight>
                            <a:srgbClr val="FFFF00"/>
                          </a:highlight>
                        </a:rPr>
                        <a:t>14 day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 days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 day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 day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083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1 days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4 day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 days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 day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9960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8 days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1 days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4 day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 days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days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467134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E489C25-EDE1-C19E-545E-3C77F0BFF3F4}"/>
              </a:ext>
            </a:extLst>
          </p:cNvPr>
          <p:cNvSpPr txBox="1"/>
          <p:nvPr/>
        </p:nvSpPr>
        <p:spPr>
          <a:xfrm>
            <a:off x="8464418" y="1717603"/>
            <a:ext cx="1898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sit Frequency</a:t>
            </a:r>
          </a:p>
        </p:txBody>
      </p:sp>
    </p:spTree>
    <p:extLst>
      <p:ext uri="{BB962C8B-B14F-4D97-AF65-F5344CB8AC3E}">
        <p14:creationId xmlns:p14="http://schemas.microsoft.com/office/powerpoint/2010/main" val="415948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3CAD18-30B2-7487-DFFC-075113EC3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4218FF-B6D4-906E-9B3D-C9F3CB508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Levers to Optimize Margi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2AAC69-3FEE-2C97-F2F2-3F2E99E59095}"/>
              </a:ext>
            </a:extLst>
          </p:cNvPr>
          <p:cNvSpPr txBox="1"/>
          <p:nvPr/>
        </p:nvSpPr>
        <p:spPr>
          <a:xfrm>
            <a:off x="411685" y="1052560"/>
            <a:ext cx="543135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oute Optim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hrough Area Level Route Optimization, </a:t>
            </a:r>
            <a:r>
              <a:rPr lang="en-US" sz="1600" b="1" dirty="0"/>
              <a:t>8 Routes can be Eliminated </a:t>
            </a:r>
          </a:p>
          <a:p>
            <a:pPr lvl="1"/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rea Consolid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onsolidate to 2 Areas 6 Areas -&gt; 2 Area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dditional </a:t>
            </a:r>
            <a:r>
              <a:rPr lang="en-US" sz="1600" b="1" dirty="0"/>
              <a:t>5 Routes Eliminated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arget 100% Completion of Critical &amp; High + 60% Completion of Mediu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C857CA-A778-BED6-F285-DE9E62F09D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3349" y="1050340"/>
            <a:ext cx="4185810" cy="2745239"/>
          </a:xfrm>
          <a:prstGeom prst="rect">
            <a:avLst/>
          </a:prstGeom>
          <a:ln w="57150">
            <a:solidFill>
              <a:srgbClr val="C71F41"/>
            </a:solidFill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D4D9E0A-7343-7B83-C1E2-D277AE7B002F}"/>
              </a:ext>
            </a:extLst>
          </p:cNvPr>
          <p:cNvCxnSpPr>
            <a:cxnSpLocks/>
          </p:cNvCxnSpPr>
          <p:nvPr/>
        </p:nvCxnSpPr>
        <p:spPr>
          <a:xfrm flipV="1">
            <a:off x="8756254" y="1170003"/>
            <a:ext cx="0" cy="1083075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48F3B0-0A5A-B2DE-791D-B2C475F80E60}"/>
              </a:ext>
            </a:extLst>
          </p:cNvPr>
          <p:cNvCxnSpPr>
            <a:cxnSpLocks/>
          </p:cNvCxnSpPr>
          <p:nvPr/>
        </p:nvCxnSpPr>
        <p:spPr>
          <a:xfrm flipH="1" flipV="1">
            <a:off x="9336404" y="1170002"/>
            <a:ext cx="465191" cy="61256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50F78E2-F0B9-D11A-07DE-262CC80BAF93}"/>
              </a:ext>
            </a:extLst>
          </p:cNvPr>
          <p:cNvCxnSpPr>
            <a:cxnSpLocks/>
            <a:stCxn id="54" idx="3"/>
          </p:cNvCxnSpPr>
          <p:nvPr/>
        </p:nvCxnSpPr>
        <p:spPr>
          <a:xfrm flipH="1" flipV="1">
            <a:off x="9801595" y="1773736"/>
            <a:ext cx="839866" cy="1375864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8B53950-C34B-A307-691A-528E1C165C2A}"/>
              </a:ext>
            </a:extLst>
          </p:cNvPr>
          <p:cNvCxnSpPr>
            <a:cxnSpLocks/>
          </p:cNvCxnSpPr>
          <p:nvPr/>
        </p:nvCxnSpPr>
        <p:spPr>
          <a:xfrm flipH="1">
            <a:off x="8908050" y="3566840"/>
            <a:ext cx="1497226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FC42D5-EDD3-397C-C405-D896B6E97CA2}"/>
              </a:ext>
            </a:extLst>
          </p:cNvPr>
          <p:cNvCxnSpPr>
            <a:cxnSpLocks/>
          </p:cNvCxnSpPr>
          <p:nvPr/>
        </p:nvCxnSpPr>
        <p:spPr>
          <a:xfrm>
            <a:off x="8641057" y="2289793"/>
            <a:ext cx="0" cy="221968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7E36663-D4E0-ED2B-900B-F022D7F42EAE}"/>
              </a:ext>
            </a:extLst>
          </p:cNvPr>
          <p:cNvCxnSpPr>
            <a:cxnSpLocks/>
          </p:cNvCxnSpPr>
          <p:nvPr/>
        </p:nvCxnSpPr>
        <p:spPr>
          <a:xfrm flipH="1">
            <a:off x="8625182" y="2237512"/>
            <a:ext cx="131072" cy="77063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0CB3869-095B-1CCE-7A13-FC5BCBF93745}"/>
              </a:ext>
            </a:extLst>
          </p:cNvPr>
          <p:cNvCxnSpPr>
            <a:cxnSpLocks/>
          </p:cNvCxnSpPr>
          <p:nvPr/>
        </p:nvCxnSpPr>
        <p:spPr>
          <a:xfrm>
            <a:off x="8756254" y="2475046"/>
            <a:ext cx="0" cy="390592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FEFCD40-2AAB-7729-6E78-8CFE70DCBDED}"/>
              </a:ext>
            </a:extLst>
          </p:cNvPr>
          <p:cNvCxnSpPr>
            <a:cxnSpLocks/>
          </p:cNvCxnSpPr>
          <p:nvPr/>
        </p:nvCxnSpPr>
        <p:spPr>
          <a:xfrm>
            <a:off x="8908050" y="3035300"/>
            <a:ext cx="0" cy="557048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F5F93C1-0157-9E3D-DE2A-7877B06E633F}"/>
              </a:ext>
            </a:extLst>
          </p:cNvPr>
          <p:cNvCxnSpPr>
            <a:cxnSpLocks/>
          </p:cNvCxnSpPr>
          <p:nvPr/>
        </p:nvCxnSpPr>
        <p:spPr>
          <a:xfrm>
            <a:off x="8625182" y="2481396"/>
            <a:ext cx="160043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8D91E75-8AF1-8AC2-FC92-D196FD4004B1}"/>
              </a:ext>
            </a:extLst>
          </p:cNvPr>
          <p:cNvCxnSpPr>
            <a:cxnSpLocks/>
          </p:cNvCxnSpPr>
          <p:nvPr/>
        </p:nvCxnSpPr>
        <p:spPr>
          <a:xfrm>
            <a:off x="8813800" y="3035300"/>
            <a:ext cx="124738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D32B6B7-AA87-C2E6-9AF0-A3D2F554E146}"/>
              </a:ext>
            </a:extLst>
          </p:cNvPr>
          <p:cNvCxnSpPr>
            <a:cxnSpLocks/>
          </p:cNvCxnSpPr>
          <p:nvPr/>
        </p:nvCxnSpPr>
        <p:spPr>
          <a:xfrm>
            <a:off x="8743950" y="2838450"/>
            <a:ext cx="95250" cy="0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D95EC47-D1BE-2EF0-2BCC-3F317A74BC59}"/>
              </a:ext>
            </a:extLst>
          </p:cNvPr>
          <p:cNvCxnSpPr>
            <a:cxnSpLocks/>
          </p:cNvCxnSpPr>
          <p:nvPr/>
        </p:nvCxnSpPr>
        <p:spPr>
          <a:xfrm>
            <a:off x="8839200" y="2810731"/>
            <a:ext cx="0" cy="246794"/>
          </a:xfrm>
          <a:prstGeom prst="line">
            <a:avLst/>
          </a:prstGeom>
          <a:ln w="5715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55DDD75-42CD-4E33-CAD6-5A408787B320}"/>
              </a:ext>
            </a:extLst>
          </p:cNvPr>
          <p:cNvSpPr/>
          <p:nvPr/>
        </p:nvSpPr>
        <p:spPr>
          <a:xfrm>
            <a:off x="8743950" y="1086293"/>
            <a:ext cx="593725" cy="126549"/>
          </a:xfrm>
          <a:custGeom>
            <a:avLst/>
            <a:gdLst>
              <a:gd name="connsiteX0" fmla="*/ 0 w 577850"/>
              <a:gd name="connsiteY0" fmla="*/ 82107 h 82107"/>
              <a:gd name="connsiteX1" fmla="*/ 190500 w 577850"/>
              <a:gd name="connsiteY1" fmla="*/ 5907 h 82107"/>
              <a:gd name="connsiteX2" fmla="*/ 463550 w 577850"/>
              <a:gd name="connsiteY2" fmla="*/ 12257 h 82107"/>
              <a:gd name="connsiteX3" fmla="*/ 577850 w 577850"/>
              <a:gd name="connsiteY3" fmla="*/ 69407 h 82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82107">
                <a:moveTo>
                  <a:pt x="0" y="82107"/>
                </a:moveTo>
                <a:cubicBezTo>
                  <a:pt x="56621" y="49828"/>
                  <a:pt x="113242" y="17549"/>
                  <a:pt x="190500" y="5907"/>
                </a:cubicBezTo>
                <a:cubicBezTo>
                  <a:pt x="267758" y="-5735"/>
                  <a:pt x="398992" y="1674"/>
                  <a:pt x="463550" y="12257"/>
                </a:cubicBezTo>
                <a:cubicBezTo>
                  <a:pt x="528108" y="22840"/>
                  <a:pt x="552979" y="46123"/>
                  <a:pt x="577850" y="69407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F3F763C-8F37-D91E-D543-131852DF56CC}"/>
              </a:ext>
            </a:extLst>
          </p:cNvPr>
          <p:cNvSpPr/>
          <p:nvPr/>
        </p:nvSpPr>
        <p:spPr>
          <a:xfrm>
            <a:off x="10385426" y="3149600"/>
            <a:ext cx="272876" cy="417235"/>
          </a:xfrm>
          <a:custGeom>
            <a:avLst/>
            <a:gdLst>
              <a:gd name="connsiteX0" fmla="*/ 0 w 291010"/>
              <a:gd name="connsiteY0" fmla="*/ 431800 h 431800"/>
              <a:gd name="connsiteX1" fmla="*/ 196850 w 291010"/>
              <a:gd name="connsiteY1" fmla="*/ 342900 h 431800"/>
              <a:gd name="connsiteX2" fmla="*/ 285750 w 291010"/>
              <a:gd name="connsiteY2" fmla="*/ 190500 h 431800"/>
              <a:gd name="connsiteX3" fmla="*/ 273050 w 291010"/>
              <a:gd name="connsiteY3" fmla="*/ 0 h 43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010" h="431800">
                <a:moveTo>
                  <a:pt x="0" y="431800"/>
                </a:moveTo>
                <a:cubicBezTo>
                  <a:pt x="74612" y="407458"/>
                  <a:pt x="149225" y="383117"/>
                  <a:pt x="196850" y="342900"/>
                </a:cubicBezTo>
                <a:cubicBezTo>
                  <a:pt x="244475" y="302683"/>
                  <a:pt x="273050" y="247650"/>
                  <a:pt x="285750" y="190500"/>
                </a:cubicBezTo>
                <a:cubicBezTo>
                  <a:pt x="298450" y="133350"/>
                  <a:pt x="285750" y="66675"/>
                  <a:pt x="273050" y="0"/>
                </a:cubicBezTo>
              </a:path>
            </a:pathLst>
          </a:custGeom>
          <a:noFill/>
          <a:ln w="57150">
            <a:solidFill>
              <a:srgbClr val="6ABF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48A789B-AE0D-767D-4CF9-C8F5CDC6CA45}"/>
              </a:ext>
            </a:extLst>
          </p:cNvPr>
          <p:cNvSpPr txBox="1"/>
          <p:nvPr/>
        </p:nvSpPr>
        <p:spPr>
          <a:xfrm>
            <a:off x="9371883" y="2450469"/>
            <a:ext cx="80021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6ABF4B"/>
                </a:solidFill>
              </a:rPr>
              <a:t>EAST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8710EE9-D873-E5A8-89DE-28C7542924AD}"/>
              </a:ext>
            </a:extLst>
          </p:cNvPr>
          <p:cNvCxnSpPr>
            <a:cxnSpLocks/>
          </p:cNvCxnSpPr>
          <p:nvPr/>
        </p:nvCxnSpPr>
        <p:spPr>
          <a:xfrm flipH="1">
            <a:off x="7038975" y="1170002"/>
            <a:ext cx="1704975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F0AEECD-590D-1659-ABD2-9131D360A2F2}"/>
              </a:ext>
            </a:extLst>
          </p:cNvPr>
          <p:cNvCxnSpPr>
            <a:cxnSpLocks/>
          </p:cNvCxnSpPr>
          <p:nvPr/>
        </p:nvCxnSpPr>
        <p:spPr>
          <a:xfrm flipH="1">
            <a:off x="8743950" y="3566835"/>
            <a:ext cx="132219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940A650-6A89-EA33-ACAC-C202B2FAFB71}"/>
              </a:ext>
            </a:extLst>
          </p:cNvPr>
          <p:cNvCxnSpPr>
            <a:cxnSpLocks/>
          </p:cNvCxnSpPr>
          <p:nvPr/>
        </p:nvCxnSpPr>
        <p:spPr>
          <a:xfrm flipH="1" flipV="1">
            <a:off x="8625182" y="3454400"/>
            <a:ext cx="166393" cy="128729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47F8834-AF7F-19E7-DD15-651A5D7F84E7}"/>
              </a:ext>
            </a:extLst>
          </p:cNvPr>
          <p:cNvCxnSpPr>
            <a:cxnSpLocks/>
          </p:cNvCxnSpPr>
          <p:nvPr/>
        </p:nvCxnSpPr>
        <p:spPr>
          <a:xfrm flipH="1">
            <a:off x="8474075" y="3454400"/>
            <a:ext cx="180949" cy="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ACE4C87-6172-C9CA-50FF-641C35FEEEDD}"/>
              </a:ext>
            </a:extLst>
          </p:cNvPr>
          <p:cNvCxnSpPr>
            <a:cxnSpLocks/>
          </p:cNvCxnSpPr>
          <p:nvPr/>
        </p:nvCxnSpPr>
        <p:spPr>
          <a:xfrm flipH="1" flipV="1">
            <a:off x="8260800" y="3251200"/>
            <a:ext cx="231251" cy="20320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268A3517-A126-EBB9-EE81-2BC0DFE2BEC0}"/>
              </a:ext>
            </a:extLst>
          </p:cNvPr>
          <p:cNvCxnSpPr>
            <a:cxnSpLocks/>
          </p:cNvCxnSpPr>
          <p:nvPr/>
        </p:nvCxnSpPr>
        <p:spPr>
          <a:xfrm flipH="1" flipV="1">
            <a:off x="8176206" y="3102887"/>
            <a:ext cx="101026" cy="148313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DD75499-0851-D808-D733-BDC6F1F4A701}"/>
              </a:ext>
            </a:extLst>
          </p:cNvPr>
          <p:cNvCxnSpPr>
            <a:cxnSpLocks/>
          </p:cNvCxnSpPr>
          <p:nvPr/>
        </p:nvCxnSpPr>
        <p:spPr>
          <a:xfrm flipH="1" flipV="1">
            <a:off x="7891462" y="2838450"/>
            <a:ext cx="300489" cy="264437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EA3AE9A-15E2-F979-BD4A-5413B2383975}"/>
              </a:ext>
            </a:extLst>
          </p:cNvPr>
          <p:cNvCxnSpPr>
            <a:cxnSpLocks/>
            <a:endCxn id="81" idx="5"/>
          </p:cNvCxnSpPr>
          <p:nvPr/>
        </p:nvCxnSpPr>
        <p:spPr>
          <a:xfrm flipH="1" flipV="1">
            <a:off x="7337425" y="2432050"/>
            <a:ext cx="596882" cy="433588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ED431268-2521-3508-2620-E0EBCC0C6010}"/>
              </a:ext>
            </a:extLst>
          </p:cNvPr>
          <p:cNvSpPr/>
          <p:nvPr/>
        </p:nvSpPr>
        <p:spPr>
          <a:xfrm>
            <a:off x="6642443" y="1173886"/>
            <a:ext cx="694982" cy="1271879"/>
          </a:xfrm>
          <a:custGeom>
            <a:avLst/>
            <a:gdLst>
              <a:gd name="connsiteX0" fmla="*/ 428282 w 694982"/>
              <a:gd name="connsiteY0" fmla="*/ 864 h 1271879"/>
              <a:gd name="connsiteX1" fmla="*/ 161582 w 694982"/>
              <a:gd name="connsiteY1" fmla="*/ 45314 h 1271879"/>
              <a:gd name="connsiteX2" fmla="*/ 9182 w 694982"/>
              <a:gd name="connsiteY2" fmla="*/ 292964 h 1271879"/>
              <a:gd name="connsiteX3" fmla="*/ 79032 w 694982"/>
              <a:gd name="connsiteY3" fmla="*/ 623164 h 1271879"/>
              <a:gd name="connsiteX4" fmla="*/ 580682 w 694982"/>
              <a:gd name="connsiteY4" fmla="*/ 1188314 h 1271879"/>
              <a:gd name="connsiteX5" fmla="*/ 694982 w 694982"/>
              <a:gd name="connsiteY5" fmla="*/ 1258164 h 127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982" h="1271879">
                <a:moveTo>
                  <a:pt x="428282" y="864"/>
                </a:moveTo>
                <a:cubicBezTo>
                  <a:pt x="329857" y="-1253"/>
                  <a:pt x="231432" y="-3369"/>
                  <a:pt x="161582" y="45314"/>
                </a:cubicBezTo>
                <a:cubicBezTo>
                  <a:pt x="91732" y="93997"/>
                  <a:pt x="22940" y="196656"/>
                  <a:pt x="9182" y="292964"/>
                </a:cubicBezTo>
                <a:cubicBezTo>
                  <a:pt x="-4576" y="389272"/>
                  <a:pt x="-16218" y="473939"/>
                  <a:pt x="79032" y="623164"/>
                </a:cubicBezTo>
                <a:cubicBezTo>
                  <a:pt x="174282" y="772389"/>
                  <a:pt x="478024" y="1082481"/>
                  <a:pt x="580682" y="1188314"/>
                </a:cubicBezTo>
                <a:cubicBezTo>
                  <a:pt x="683340" y="1294147"/>
                  <a:pt x="689161" y="1276155"/>
                  <a:pt x="694982" y="1258164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EA2581C-245A-1ABE-341F-8944F58A9AF9}"/>
              </a:ext>
            </a:extLst>
          </p:cNvPr>
          <p:cNvSpPr txBox="1"/>
          <p:nvPr/>
        </p:nvSpPr>
        <p:spPr>
          <a:xfrm>
            <a:off x="7350118" y="1589070"/>
            <a:ext cx="85151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WEST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2BC4DA8-4464-267E-22D0-F2A513E075C0}"/>
              </a:ext>
            </a:extLst>
          </p:cNvPr>
          <p:cNvSpPr txBox="1"/>
          <p:nvPr/>
        </p:nvSpPr>
        <p:spPr>
          <a:xfrm rot="5400000">
            <a:off x="10153501" y="2238293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71F41"/>
                </a:solidFill>
              </a:rPr>
              <a:t>Recommended</a:t>
            </a:r>
          </a:p>
        </p:txBody>
      </p:sp>
      <p:graphicFrame>
        <p:nvGraphicFramePr>
          <p:cNvPr id="108" name="Table 107">
            <a:extLst>
              <a:ext uri="{FF2B5EF4-FFF2-40B4-BE49-F238E27FC236}">
                <a16:creationId xmlns:a16="http://schemas.microsoft.com/office/drawing/2014/main" id="{28681B63-B6A8-2153-2935-2781795E9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245593"/>
              </p:ext>
            </p:extLst>
          </p:nvPr>
        </p:nvGraphicFramePr>
        <p:xfrm>
          <a:off x="432899" y="3802839"/>
          <a:ext cx="504924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0478">
                  <a:extLst>
                    <a:ext uri="{9D8B030D-6E8A-4147-A177-3AD203B41FA5}">
                      <a16:colId xmlns:a16="http://schemas.microsoft.com/office/drawing/2014/main" val="1348664723"/>
                    </a:ext>
                  </a:extLst>
                </a:gridCol>
                <a:gridCol w="1853148">
                  <a:extLst>
                    <a:ext uri="{9D8B030D-6E8A-4147-A177-3AD203B41FA5}">
                      <a16:colId xmlns:a16="http://schemas.microsoft.com/office/drawing/2014/main" val="2226062696"/>
                    </a:ext>
                  </a:extLst>
                </a:gridCol>
                <a:gridCol w="907807">
                  <a:extLst>
                    <a:ext uri="{9D8B030D-6E8A-4147-A177-3AD203B41FA5}">
                      <a16:colId xmlns:a16="http://schemas.microsoft.com/office/drawing/2014/main" val="4284397440"/>
                    </a:ext>
                  </a:extLst>
                </a:gridCol>
                <a:gridCol w="907807">
                  <a:extLst>
                    <a:ext uri="{9D8B030D-6E8A-4147-A177-3AD203B41FA5}">
                      <a16:colId xmlns:a16="http://schemas.microsoft.com/office/drawing/2014/main" val="1285628303"/>
                    </a:ext>
                  </a:extLst>
                </a:gridCol>
              </a:tblGrid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lags (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C</a:t>
                      </a:r>
                      <a:r>
                        <a:rPr lang="en-US" sz="1400" dirty="0"/>
                        <a:t>/</a:t>
                      </a:r>
                      <a:r>
                        <a:rPr lang="en-US" sz="1400" dirty="0">
                          <a:solidFill>
                            <a:srgbClr val="C00000"/>
                          </a:solidFill>
                        </a:rPr>
                        <a:t>H</a:t>
                      </a:r>
                      <a:r>
                        <a:rPr lang="en-US" sz="1400" dirty="0"/>
                        <a:t>/</a:t>
                      </a:r>
                      <a:r>
                        <a:rPr lang="en-US" sz="1400" dirty="0">
                          <a:solidFill>
                            <a:srgbClr val="FFC000"/>
                          </a:solidFill>
                        </a:rPr>
                        <a:t>M</a:t>
                      </a:r>
                      <a:r>
                        <a:rPr lang="en-US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CF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outes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7808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79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27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5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42831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16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49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$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2289043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5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8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8794874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(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9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120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FFC000"/>
                          </a:solidFill>
                        </a:rPr>
                        <a:t>256</a:t>
                      </a:r>
                      <a:r>
                        <a:rPr lang="en-US" sz="1400" b="1" dirty="0"/>
                        <a:t>) </a:t>
                      </a:r>
                      <a:r>
                        <a:rPr lang="en-US" sz="1400" b="0" i="1" u="none" dirty="0"/>
                        <a:t>3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$71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113395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0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4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5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7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0580308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2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9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7574101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(</a:t>
                      </a:r>
                      <a:r>
                        <a:rPr lang="en-US" sz="1400" b="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C00000"/>
                          </a:solidFill>
                        </a:rPr>
                        <a:t>11</a:t>
                      </a:r>
                      <a:r>
                        <a:rPr lang="en-US" sz="1400" b="0" dirty="0"/>
                        <a:t>,</a:t>
                      </a:r>
                      <a:r>
                        <a:rPr lang="en-US" sz="1400" b="0" dirty="0">
                          <a:solidFill>
                            <a:srgbClr val="FFC000"/>
                          </a:solidFill>
                        </a:rPr>
                        <a:t>100</a:t>
                      </a:r>
                      <a:r>
                        <a:rPr lang="en-US" sz="1400" b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740832"/>
                  </a:ext>
                </a:extLst>
              </a:tr>
              <a:tr h="2699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W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(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4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56</a:t>
                      </a:r>
                      <a:r>
                        <a:rPr lang="en-US" sz="1400" b="1" dirty="0"/>
                        <a:t>,</a:t>
                      </a:r>
                      <a:r>
                        <a:rPr lang="en-US" sz="1400" b="1" dirty="0">
                          <a:solidFill>
                            <a:srgbClr val="FFC000"/>
                          </a:solidFill>
                        </a:rPr>
                        <a:t>340</a:t>
                      </a:r>
                      <a:r>
                        <a:rPr lang="en-US" sz="1400" b="1" dirty="0"/>
                        <a:t>) </a:t>
                      </a:r>
                      <a:r>
                        <a:rPr lang="en-US" sz="1400" b="0" i="1" dirty="0"/>
                        <a:t>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$5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608669"/>
                  </a:ext>
                </a:extLst>
              </a:tr>
            </a:tbl>
          </a:graphicData>
        </a:graphic>
      </p:graphicFrame>
      <p:sp>
        <p:nvSpPr>
          <p:cNvPr id="109" name="TextBox 108">
            <a:extLst>
              <a:ext uri="{FF2B5EF4-FFF2-40B4-BE49-F238E27FC236}">
                <a16:creationId xmlns:a16="http://schemas.microsoft.com/office/drawing/2014/main" id="{F9B6DA5C-3F67-908B-E663-66A18326EB37}"/>
              </a:ext>
            </a:extLst>
          </p:cNvPr>
          <p:cNvSpPr txBox="1"/>
          <p:nvPr/>
        </p:nvSpPr>
        <p:spPr>
          <a:xfrm>
            <a:off x="418761" y="6546039"/>
            <a:ext cx="5370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 New recommendation assuming dynamic optimization in place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2D6847B-B6D2-025F-C184-2EB5949A2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774698"/>
              </p:ext>
            </p:extLst>
          </p:nvPr>
        </p:nvGraphicFramePr>
        <p:xfrm>
          <a:off x="6935791" y="3922264"/>
          <a:ext cx="3748536" cy="2617065"/>
        </p:xfrm>
        <a:graphic>
          <a:graphicData uri="http://schemas.openxmlformats.org/drawingml/2006/table">
            <a:tbl>
              <a:tblPr/>
              <a:tblGrid>
                <a:gridCol w="2542976">
                  <a:extLst>
                    <a:ext uri="{9D8B030D-6E8A-4147-A177-3AD203B41FA5}">
                      <a16:colId xmlns:a16="http://schemas.microsoft.com/office/drawing/2014/main" val="3188142440"/>
                    </a:ext>
                  </a:extLst>
                </a:gridCol>
                <a:gridCol w="1205560">
                  <a:extLst>
                    <a:ext uri="{9D8B030D-6E8A-4147-A177-3AD203B41FA5}">
                      <a16:colId xmlns:a16="http://schemas.microsoft.com/office/drawing/2014/main" val="2200892771"/>
                    </a:ext>
                  </a:extLst>
                </a:gridCol>
              </a:tblGrid>
              <a:tr h="29078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verage Actions per Da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6144213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riance to Foreca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1182417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isk Visit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2388291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uage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0725115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iquid Transpor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344572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il Ha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45501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ter Ha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2478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il &amp; Water Ha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945425"/>
                  </a:ext>
                </a:extLst>
              </a:tr>
              <a:tr h="2907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4127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883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2573D44-AD8E-0735-B674-C5009B13D2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0896851"/>
              </p:ext>
            </p:extLst>
          </p:nvPr>
        </p:nvGraphicFramePr>
        <p:xfrm>
          <a:off x="5629753" y="988793"/>
          <a:ext cx="5982239" cy="5483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6BC3BF-3511-0187-354A-1F8E45049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B06E59-CF9C-3122-211A-C1372BAE0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bor &amp; Vehicles Long Term Trend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0B7464D-BED2-FF30-3411-A0DA2BF11577}"/>
              </a:ext>
            </a:extLst>
          </p:cNvPr>
          <p:cNvSpPr/>
          <p:nvPr/>
        </p:nvSpPr>
        <p:spPr>
          <a:xfrm>
            <a:off x="9202325" y="3147548"/>
            <a:ext cx="772357" cy="372862"/>
          </a:xfrm>
          <a:prstGeom prst="roundRect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87D92D-6079-39B2-C0E5-8CE24E88701C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9974682" y="3155080"/>
            <a:ext cx="412192" cy="17889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67478B2-947B-CDF4-17D0-834323593002}"/>
              </a:ext>
            </a:extLst>
          </p:cNvPr>
          <p:cNvCxnSpPr>
            <a:cxnSpLocks/>
          </p:cNvCxnSpPr>
          <p:nvPr/>
        </p:nvCxnSpPr>
        <p:spPr>
          <a:xfrm>
            <a:off x="10755354" y="3901165"/>
            <a:ext cx="538273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BA5AE73-A61E-D087-034D-A6135BDDB57C}"/>
              </a:ext>
            </a:extLst>
          </p:cNvPr>
          <p:cNvSpPr txBox="1"/>
          <p:nvPr/>
        </p:nvSpPr>
        <p:spPr>
          <a:xfrm>
            <a:off x="9890401" y="3778386"/>
            <a:ext cx="86495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Budge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542B0B-3445-E838-4AF3-E417E36E461E}"/>
              </a:ext>
            </a:extLst>
          </p:cNvPr>
          <p:cNvCxnSpPr>
            <a:cxnSpLocks/>
          </p:cNvCxnSpPr>
          <p:nvPr/>
        </p:nvCxnSpPr>
        <p:spPr>
          <a:xfrm>
            <a:off x="10762563" y="4434043"/>
            <a:ext cx="53106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199DB74-5815-3EB5-6599-C6E338B3047A}"/>
              </a:ext>
            </a:extLst>
          </p:cNvPr>
          <p:cNvSpPr txBox="1"/>
          <p:nvPr/>
        </p:nvSpPr>
        <p:spPr>
          <a:xfrm>
            <a:off x="8794753" y="4295480"/>
            <a:ext cx="1960601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200" b="1" dirty="0">
                <a:solidFill>
                  <a:srgbClr val="002060"/>
                </a:solidFill>
              </a:rPr>
              <a:t>Top Quartile Benchmar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B15AA8-AF4A-8F8F-0D44-A28411901F5C}"/>
              </a:ext>
            </a:extLst>
          </p:cNvPr>
          <p:cNvSpPr txBox="1"/>
          <p:nvPr/>
        </p:nvSpPr>
        <p:spPr>
          <a:xfrm>
            <a:off x="10354438" y="3003316"/>
            <a:ext cx="81624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/>
              <a:t>Baselin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B13BEB6-6758-58A0-100D-35F4FA41DDF3}"/>
              </a:ext>
            </a:extLst>
          </p:cNvPr>
          <p:cNvCxnSpPr>
            <a:cxnSpLocks/>
          </p:cNvCxnSpPr>
          <p:nvPr/>
        </p:nvCxnSpPr>
        <p:spPr>
          <a:xfrm>
            <a:off x="11073719" y="4639491"/>
            <a:ext cx="219908" cy="0"/>
          </a:xfrm>
          <a:prstGeom prst="line">
            <a:avLst/>
          </a:prstGeom>
          <a:ln w="381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23587FB-FE86-5AD6-4459-99FAF4CA0C83}"/>
              </a:ext>
            </a:extLst>
          </p:cNvPr>
          <p:cNvSpPr txBox="1"/>
          <p:nvPr/>
        </p:nvSpPr>
        <p:spPr>
          <a:xfrm>
            <a:off x="9076954" y="4589557"/>
            <a:ext cx="1996765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200" b="1" dirty="0">
                <a:solidFill>
                  <a:srgbClr val="57B6B2"/>
                </a:solidFill>
              </a:rPr>
              <a:t>Bottoms Up Assess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974A98-6DC7-4AAA-CE57-3B01CEB61CB2}"/>
              </a:ext>
            </a:extLst>
          </p:cNvPr>
          <p:cNvSpPr txBox="1"/>
          <p:nvPr/>
        </p:nvSpPr>
        <p:spPr>
          <a:xfrm>
            <a:off x="128603" y="1156656"/>
            <a:ext cx="518278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Labor Optimization Ac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liminate “Night” L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oute Optimization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Reduce to 19 Dynamic Rou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duce Size of Specialist Pool.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LO Trained &amp; Expected to handle 90% of issues. Escalate to Lead &amp; Ops Center as neede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solidate Areas &amp; Field Leadership / Supp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3B7F77A0-9A4D-9E07-8A2E-32EF116B80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5073487"/>
              </p:ext>
            </p:extLst>
          </p:nvPr>
        </p:nvGraphicFramePr>
        <p:xfrm>
          <a:off x="433995" y="41148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5791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05C4E8-CB30-652F-37A9-2E4E58C67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7DF5FA-12EB-34C7-879C-7468DFC1A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Proposed WAB Ops Org (Operations &amp; Ops Center)</a:t>
            </a:r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7671342-50B3-07FC-FDF5-AF95788106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841933"/>
              </p:ext>
            </p:extLst>
          </p:nvPr>
        </p:nvGraphicFramePr>
        <p:xfrm>
          <a:off x="-1333090" y="973251"/>
          <a:ext cx="10148616" cy="5715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ED0B9C-E22E-D54D-E4EF-8B8718FA138B}"/>
              </a:ext>
            </a:extLst>
          </p:cNvPr>
          <p:cNvSpPr txBox="1"/>
          <p:nvPr/>
        </p:nvSpPr>
        <p:spPr>
          <a:xfrm>
            <a:off x="6478944" y="3608478"/>
            <a:ext cx="2642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470 Site Visits per Da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0AF634-7EB8-F5A5-1E96-574E3CDEBB92}"/>
              </a:ext>
            </a:extLst>
          </p:cNvPr>
          <p:cNvSpPr txBox="1"/>
          <p:nvPr/>
        </p:nvSpPr>
        <p:spPr>
          <a:xfrm>
            <a:off x="6478944" y="2880190"/>
            <a:ext cx="2514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11E41"/>
                </a:solidFill>
              </a:rPr>
              <a:t>85 Site Visits per D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7B5B1C-6C86-495C-2917-E145664DE539}"/>
              </a:ext>
            </a:extLst>
          </p:cNvPr>
          <p:cNvSpPr txBox="1"/>
          <p:nvPr/>
        </p:nvSpPr>
        <p:spPr>
          <a:xfrm>
            <a:off x="6489724" y="2263542"/>
            <a:ext cx="35403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30 Site Visits per Day (1/2 Da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A27D8C-776B-9CA9-0C9F-E03D1866D71A}"/>
              </a:ext>
            </a:extLst>
          </p:cNvPr>
          <p:cNvSpPr txBox="1"/>
          <p:nvPr/>
        </p:nvSpPr>
        <p:spPr>
          <a:xfrm>
            <a:off x="365759" y="989348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34 People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BF9E9195-D704-7FEE-9B8A-2908ED51C79B}"/>
              </a:ext>
            </a:extLst>
          </p:cNvPr>
          <p:cNvSpPr/>
          <p:nvPr/>
        </p:nvSpPr>
        <p:spPr>
          <a:xfrm>
            <a:off x="871372" y="4589756"/>
            <a:ext cx="227375" cy="1922992"/>
          </a:xfrm>
          <a:prstGeom prst="leftBrace">
            <a:avLst/>
          </a:prstGeom>
          <a:ln>
            <a:solidFill>
              <a:srgbClr val="6AB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ABF4B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4162CD-860C-E16C-2CDD-B8BC046A4352}"/>
              </a:ext>
            </a:extLst>
          </p:cNvPr>
          <p:cNvSpPr txBox="1"/>
          <p:nvPr/>
        </p:nvSpPr>
        <p:spPr>
          <a:xfrm>
            <a:off x="55123" y="5412752"/>
            <a:ext cx="8162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6ABF4B"/>
                </a:solidFill>
              </a:rPr>
              <a:t>Contra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B32553-CBFC-C062-3E7A-D069A9D21EB9}"/>
              </a:ext>
            </a:extLst>
          </p:cNvPr>
          <p:cNvSpPr txBox="1"/>
          <p:nvPr/>
        </p:nvSpPr>
        <p:spPr>
          <a:xfrm>
            <a:off x="9404153" y="3737440"/>
            <a:ext cx="2653290" cy="1477328"/>
          </a:xfrm>
          <a:prstGeom prst="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FIT Team (</a:t>
            </a:r>
            <a:r>
              <a:rPr lang="en-US" b="1" dirty="0"/>
              <a:t>OO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 I&amp;E Lea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 I&amp;E Tec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 Construction Lea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 Roustabout Crew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27A82F-11C3-4E6D-52F3-EB0CB90DF5E5}"/>
              </a:ext>
            </a:extLst>
          </p:cNvPr>
          <p:cNvSpPr txBox="1"/>
          <p:nvPr/>
        </p:nvSpPr>
        <p:spPr>
          <a:xfrm>
            <a:off x="8259920" y="6512748"/>
            <a:ext cx="31390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.5 Days to “Churn” Field to 3.3 Day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B325E9-687F-9055-0224-259A5AC52A0C}"/>
              </a:ext>
            </a:extLst>
          </p:cNvPr>
          <p:cNvSpPr txBox="1"/>
          <p:nvPr/>
        </p:nvSpPr>
        <p:spPr>
          <a:xfrm>
            <a:off x="8259920" y="5868652"/>
            <a:ext cx="3345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lect top performers to form a lean and mean squad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6015C1-C18F-8901-A55E-617C623C4C59}"/>
              </a:ext>
            </a:extLst>
          </p:cNvPr>
          <p:cNvSpPr txBox="1"/>
          <p:nvPr/>
        </p:nvSpPr>
        <p:spPr>
          <a:xfrm>
            <a:off x="7433390" y="989348"/>
            <a:ext cx="4758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$900K / Month Target in Labor &amp; Vehic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E218D0-C271-98D9-572B-3A6A5B4B757F}"/>
              </a:ext>
            </a:extLst>
          </p:cNvPr>
          <p:cNvSpPr txBox="1"/>
          <p:nvPr/>
        </p:nvSpPr>
        <p:spPr>
          <a:xfrm>
            <a:off x="365759" y="1283133"/>
            <a:ext cx="17835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85 Visits / Da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5183A0A-CCC3-D893-813E-F64FB5E8D96B}"/>
              </a:ext>
            </a:extLst>
          </p:cNvPr>
          <p:cNvSpPr txBox="1"/>
          <p:nvPr/>
        </p:nvSpPr>
        <p:spPr>
          <a:xfrm>
            <a:off x="365759" y="1576918"/>
            <a:ext cx="2151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,925 Visits / Wee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FCEC8B-DDEE-6DA8-0084-22A8529FCAF3}"/>
              </a:ext>
            </a:extLst>
          </p:cNvPr>
          <p:cNvSpPr txBox="1"/>
          <p:nvPr/>
        </p:nvSpPr>
        <p:spPr>
          <a:xfrm>
            <a:off x="10795559" y="3423812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12 People</a:t>
            </a:r>
          </a:p>
        </p:txBody>
      </p:sp>
    </p:spTree>
    <p:extLst>
      <p:ext uri="{BB962C8B-B14F-4D97-AF65-F5344CB8AC3E}">
        <p14:creationId xmlns:p14="http://schemas.microsoft.com/office/powerpoint/2010/main" val="179109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D8C6A-CBC8-40A8-BB5D-EC9A4110E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582825-6244-CF00-0AB7-040F94BB1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 Level Resource Alloc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602B0C-3844-7E20-0308-E9DB4FFDB4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4116" y="1504951"/>
            <a:ext cx="6419284" cy="42100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29D805F-EAFD-0C21-7A1C-1F81D1D75F01}"/>
              </a:ext>
            </a:extLst>
          </p:cNvPr>
          <p:cNvSpPr/>
          <p:nvPr/>
        </p:nvSpPr>
        <p:spPr>
          <a:xfrm rot="2227209">
            <a:off x="7314267" y="3872219"/>
            <a:ext cx="2624889" cy="962025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CEC5D4D-DD94-E145-1A46-B8D502045ED3}"/>
              </a:ext>
            </a:extLst>
          </p:cNvPr>
          <p:cNvSpPr/>
          <p:nvPr/>
        </p:nvSpPr>
        <p:spPr>
          <a:xfrm rot="2227209">
            <a:off x="8090891" y="2304553"/>
            <a:ext cx="2216218" cy="1493064"/>
          </a:xfrm>
          <a:prstGeom prst="roundRect">
            <a:avLst/>
          </a:prstGeom>
          <a:noFill/>
          <a:ln w="57150">
            <a:solidFill>
              <a:srgbClr val="C71F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39A6FA-408B-B5BB-1D9F-8A5F8AF9A8AD}"/>
              </a:ext>
            </a:extLst>
          </p:cNvPr>
          <p:cNvSpPr txBox="1"/>
          <p:nvPr/>
        </p:nvSpPr>
        <p:spPr>
          <a:xfrm>
            <a:off x="461009" y="1591059"/>
            <a:ext cx="500634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discrepancy between Workload, Value and Area Boundar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ynamic Routes have been fully tested within Area Boundaries. But results are sub-optimal field wi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rst Pass – Have multiple scenarios for each Area (+1 Resource, - 1 Resource) Provide Health Status by Area and encourage Foreman to identify opportunities to shift resources from area to are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ond Pass – Create Dynamic Routes using Consolidated Area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C, SW, S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E, 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al Pass – BU Level Dynamic Rout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01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3B124-6D8F-7B2C-4334-C86423CDD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E784BC-C545-DCE8-60D2-01C972C1B2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 Distribution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3A70563-0A3E-C2FF-4BBA-378692371E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1888687"/>
              </p:ext>
            </p:extLst>
          </p:nvPr>
        </p:nvGraphicFramePr>
        <p:xfrm>
          <a:off x="5394037" y="989293"/>
          <a:ext cx="6613236" cy="2963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3B61F88-1945-FC39-49B3-05BCD62E52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666294"/>
              </p:ext>
            </p:extLst>
          </p:nvPr>
        </p:nvGraphicFramePr>
        <p:xfrm>
          <a:off x="5394037" y="3949546"/>
          <a:ext cx="6613236" cy="2820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5E835D9-1292-38DE-664D-789F63FF26A4}"/>
              </a:ext>
            </a:extLst>
          </p:cNvPr>
          <p:cNvSpPr txBox="1"/>
          <p:nvPr/>
        </p:nvSpPr>
        <p:spPr>
          <a:xfrm>
            <a:off x="365759" y="1410389"/>
            <a:ext cx="4508082" cy="50783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vious Routes are based on # wells and drive time. </a:t>
            </a:r>
            <a:r>
              <a:rPr lang="en-US" b="1" dirty="0"/>
              <a:t>Did not factor Cash Flow / Liquid Production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ticipated activity was not factored in, includ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ift Equipment Troubleshoo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Gauging Frequency </a:t>
            </a:r>
          </a:p>
          <a:p>
            <a:pPr lvl="1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date Routes based on Cash Flow and Activity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Data to Decrease Routes from 33 to 19</a:t>
            </a:r>
            <a:endParaRPr lang="en-US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erage Cash Flow per LO increases fro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28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C6DFC-A890-A7A3-0C9E-1F8F0ED62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64EF5C-8480-E443-E23F-10250D988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8/29 – Dialed in Flag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97FF16-11E8-C1DD-ACD1-59DC2DE7B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057" y="1033487"/>
            <a:ext cx="10885714" cy="570677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0697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6FF2FE5-C9EF-86BD-B5F9-8DDC17B482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/>
              <a:t>Maverick Advanced Technologies Implementation Council (MATIC)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DE1CA4-DC72-060A-96E7-48F91F170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72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Continental Resources (CLR) to Sell Oklahoma Oil and Gas Assets - TheStreet">
            <a:extLst>
              <a:ext uri="{FF2B5EF4-FFF2-40B4-BE49-F238E27FC236}">
                <a16:creationId xmlns:a16="http://schemas.microsoft.com/office/drawing/2014/main" id="{0EA34030-9DC7-6479-639C-A21CBFF88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496" y="1635034"/>
            <a:ext cx="5146766" cy="41822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864B1A-EA50-D230-C2F6-FFA32343BC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63040"/>
            <a:ext cx="6374674" cy="4846320"/>
          </a:xfrm>
        </p:spPr>
        <p:txBody>
          <a:bodyPr/>
          <a:lstStyle/>
          <a:p>
            <a:r>
              <a:rPr lang="en-US" sz="2000"/>
              <a:t>Adopt </a:t>
            </a:r>
            <a:r>
              <a:rPr lang="en-US" sz="2000" b="1"/>
              <a:t>field first</a:t>
            </a:r>
            <a:r>
              <a:rPr lang="en-US" sz="2000"/>
              <a:t> philosophy</a:t>
            </a:r>
          </a:p>
          <a:p>
            <a:endParaRPr lang="en-US" sz="2000"/>
          </a:p>
          <a:p>
            <a:r>
              <a:rPr lang="en-US" sz="2000"/>
              <a:t>Successful change requires executive sponsorship</a:t>
            </a:r>
          </a:p>
          <a:p>
            <a:endParaRPr lang="en-US" sz="2000"/>
          </a:p>
          <a:p>
            <a:r>
              <a:rPr lang="en-US" sz="2000"/>
              <a:t>Educate the field &amp; office to ensure they have the same understanding</a:t>
            </a:r>
          </a:p>
          <a:p>
            <a:endParaRPr lang="en-US" sz="2000"/>
          </a:p>
          <a:p>
            <a:r>
              <a:rPr lang="en-US" sz="2000"/>
              <a:t>The best way to gain trust is to demonstrate value</a:t>
            </a:r>
          </a:p>
          <a:p>
            <a:endParaRPr lang="en-US" sz="2000"/>
          </a:p>
          <a:p>
            <a:r>
              <a:rPr lang="en-US" sz="2000"/>
              <a:t>Spend time and effort in hands-on training to improve adop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66E88B-C315-A609-1378-78D281503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A7577-F2C9-4E03-9D98-B419871FF33D}" type="slidenum">
              <a:rPr lang="en-US" smtClean="0"/>
              <a:t>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199C0D5-9AD7-47A6-1F2F-EA94FB645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TIC Guiding Principles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8158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Sur7jP5u5LeUQEtltA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MNR">
  <a:themeElements>
    <a:clrScheme name="Maverick">
      <a:dk1>
        <a:sysClr val="windowText" lastClr="000000"/>
      </a:dk1>
      <a:lt1>
        <a:sysClr val="window" lastClr="FFFFFF"/>
      </a:lt1>
      <a:dk2>
        <a:srgbClr val="011E41"/>
      </a:dk2>
      <a:lt2>
        <a:srgbClr val="E7E6E6"/>
      </a:lt2>
      <a:accent1>
        <a:srgbClr val="011E41"/>
      </a:accent1>
      <a:accent2>
        <a:srgbClr val="C71F41"/>
      </a:accent2>
      <a:accent3>
        <a:srgbClr val="B1B1B1"/>
      </a:accent3>
      <a:accent4>
        <a:srgbClr val="6786B8"/>
      </a:accent4>
      <a:accent5>
        <a:srgbClr val="57B6B2"/>
      </a:accent5>
      <a:accent6>
        <a:srgbClr val="6ABF4B"/>
      </a:accent6>
      <a:hlink>
        <a:srgbClr val="00837B"/>
      </a:hlink>
      <a:folHlink>
        <a:srgbClr val="F5CE3E"/>
      </a:folHlink>
    </a:clrScheme>
    <a:fontScheme name="Ba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NR" id="{F6718760-A55B-42EF-88CC-2D930B972AF8}" vid="{468B82AE-03F1-4794-A8DB-188182CADE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8352d89-9378-420d-a864-59484a4a266b">
      <UserInfo>
        <DisplayName>Brian Yu</DisplayName>
        <AccountId>12</AccountId>
        <AccountType/>
      </UserInfo>
      <UserInfo>
        <DisplayName>Cynthia Estrada</DisplayName>
        <AccountId>43</AccountId>
        <AccountType/>
      </UserInfo>
      <UserInfo>
        <DisplayName>Michael Atkin</DisplayName>
        <AccountId>65</AccountId>
        <AccountType/>
      </UserInfo>
      <UserInfo>
        <DisplayName>Jordan Castillo</DisplayName>
        <AccountId>111</AccountId>
        <AccountType/>
      </UserInfo>
      <UserInfo>
        <DisplayName>Wayne Kirk</DisplayName>
        <AccountId>59</AccountId>
        <AccountType/>
      </UserInfo>
      <UserInfo>
        <DisplayName>Roger Valliquette</DisplayName>
        <AccountId>174</AccountId>
        <AccountType/>
      </UserInfo>
      <UserInfo>
        <DisplayName>Kevin Goebel</DisplayName>
        <AccountId>20</AccountId>
        <AccountType/>
      </UserInfo>
      <UserInfo>
        <DisplayName>Patrick Kester</DisplayName>
        <AccountId>146</AccountId>
        <AccountType/>
      </UserInfo>
      <UserInfo>
        <DisplayName>Philip Venesky</DisplayName>
        <AccountId>145</AccountId>
        <AccountType/>
      </UserInfo>
      <UserInfo>
        <DisplayName>Jacob Bailey</DisplayName>
        <AccountId>133</AccountId>
        <AccountType/>
      </UserInfo>
      <UserInfo>
        <DisplayName>Nicholas Siegele</DisplayName>
        <AccountId>71</AccountId>
        <AccountType/>
      </UserInfo>
      <UserInfo>
        <DisplayName>Brandon Acuff</DisplayName>
        <AccountId>13</AccountId>
        <AccountType/>
      </UserInfo>
      <UserInfo>
        <DisplayName>Satish Masina</DisplayName>
        <AccountId>14</AccountId>
        <AccountType/>
      </UserInfo>
      <UserInfo>
        <DisplayName>Sparsh Varma</DisplayName>
        <AccountId>16</AccountId>
        <AccountType/>
      </UserInfo>
      <UserInfo>
        <DisplayName>Ali Abouie</DisplayName>
        <AccountId>581</AccountId>
        <AccountType/>
      </UserInfo>
      <UserInfo>
        <DisplayName>Buddy Bains</DisplayName>
        <AccountId>580</AccountId>
        <AccountType/>
      </UserInfo>
      <UserInfo>
        <DisplayName>Jill Cervantes</DisplayName>
        <AccountId>23</AccountId>
        <AccountType/>
      </UserInfo>
      <UserInfo>
        <DisplayName>Katrina Autry</DisplayName>
        <AccountId>15</AccountId>
        <AccountType/>
      </UserInfo>
    </SharedWithUsers>
    <TaxCatchAll xmlns="48352d89-9378-420d-a864-59484a4a266b" xsi:nil="true"/>
    <lcf76f155ced4ddcb4097134ff3c332f xmlns="0c6d001d-ea3b-4bce-ad60-24207cef38c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ECCDA81898AF4CA62E321DF773C9AA" ma:contentTypeVersion="15" ma:contentTypeDescription="Create a new document." ma:contentTypeScope="" ma:versionID="542a976390a7800383b4410325435c76">
  <xsd:schema xmlns:xsd="http://www.w3.org/2001/XMLSchema" xmlns:xs="http://www.w3.org/2001/XMLSchema" xmlns:p="http://schemas.microsoft.com/office/2006/metadata/properties" xmlns:ns2="0c6d001d-ea3b-4bce-ad60-24207cef38c3" xmlns:ns3="48352d89-9378-420d-a864-59484a4a266b" targetNamespace="http://schemas.microsoft.com/office/2006/metadata/properties" ma:root="true" ma:fieldsID="09fac87d8a0164f2da2d0d67cebcd674" ns2:_="" ns3:_="">
    <xsd:import namespace="0c6d001d-ea3b-4bce-ad60-24207cef38c3"/>
    <xsd:import namespace="48352d89-9378-420d-a864-59484a4a26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SearchPropertie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6d001d-ea3b-4bce-ad60-24207cef38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a3f6185d-7804-43f7-81f6-b6b9c33211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52d89-9378-420d-a864-59484a4a266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f046598-d9bb-4a21-aa3c-4ea5d9c26474}" ma:internalName="TaxCatchAll" ma:showField="CatchAllData" ma:web="48352d89-9378-420d-a864-59484a4a266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CB9A4E-84FD-4186-B36A-C69F584E8A0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31D156B-1314-4F31-9B7B-9C699F1DA738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0c6d001d-ea3b-4bce-ad60-24207cef38c3"/>
    <ds:schemaRef ds:uri="http://www.w3.org/XML/1998/namespace"/>
    <ds:schemaRef ds:uri="http://schemas.microsoft.com/office/infopath/2007/PartnerControls"/>
    <ds:schemaRef ds:uri="48352d89-9378-420d-a864-59484a4a266b"/>
  </ds:schemaRefs>
</ds:datastoreItem>
</file>

<file path=customXml/itemProps3.xml><?xml version="1.0" encoding="utf-8"?>
<ds:datastoreItem xmlns:ds="http://schemas.openxmlformats.org/officeDocument/2006/customXml" ds:itemID="{331B4EA9-C7AF-4526-8F71-C92BB8B2FB71}">
  <ds:schemaRefs>
    <ds:schemaRef ds:uri="0c6d001d-ea3b-4bce-ad60-24207cef38c3"/>
    <ds:schemaRef ds:uri="48352d89-9378-420d-a864-59484a4a266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NR</Template>
  <TotalTime>6809</TotalTime>
  <Words>1736</Words>
  <Application>Microsoft Office PowerPoint</Application>
  <PresentationFormat>Widescreen</PresentationFormat>
  <Paragraphs>374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ptos Narrow</vt:lpstr>
      <vt:lpstr>Arial</vt:lpstr>
      <vt:lpstr>Calibri</vt:lpstr>
      <vt:lpstr>Wingdings</vt:lpstr>
      <vt:lpstr>MNR</vt:lpstr>
      <vt:lpstr>think-cell Slide</vt:lpstr>
      <vt:lpstr>Pump by Priority - WAB</vt:lpstr>
      <vt:lpstr>2 Levers to Optimize Margins</vt:lpstr>
      <vt:lpstr>Labor &amp; Vehicles Long Term Trend</vt:lpstr>
      <vt:lpstr>Proposed WAB Ops Org (Operations &amp; Ops Center)</vt:lpstr>
      <vt:lpstr>BU Level Resource Allocation</vt:lpstr>
      <vt:lpstr>Route Distribution</vt:lpstr>
      <vt:lpstr>08/29 – Dialed in Flags</vt:lpstr>
      <vt:lpstr>Maverick Advanced Technologies Implementation Council (MATIC) </vt:lpstr>
      <vt:lpstr>MATIC Guiding Principles</vt:lpstr>
      <vt:lpstr>Maverick Operational Priority System (MAV OPS) </vt:lpstr>
      <vt:lpstr>KPIs to Measure PbP Success</vt:lpstr>
      <vt:lpstr>Tools &amp; Capabilities</vt:lpstr>
      <vt:lpstr>Pump by Priority Flags</vt:lpstr>
      <vt:lpstr>Risk Matrix Visit Day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ven Elliott</dc:creator>
  <cp:lastModifiedBy>Trevor Slade</cp:lastModifiedBy>
  <cp:revision>16</cp:revision>
  <cp:lastPrinted>2024-01-15T19:03:41Z</cp:lastPrinted>
  <dcterms:created xsi:type="dcterms:W3CDTF">2018-10-08T11:12:39Z</dcterms:created>
  <dcterms:modified xsi:type="dcterms:W3CDTF">2024-09-03T17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ECCDA81898AF4CA62E321DF773C9AA</vt:lpwstr>
  </property>
  <property fmtid="{D5CDD505-2E9C-101B-9397-08002B2CF9AE}" pid="3" name="MediaServiceImageTags">
    <vt:lpwstr/>
  </property>
</Properties>
</file>